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media/image24.bin" ContentType="image/png"/>
  <Override PartName="/ppt/media/image25.bin" ContentType="image/png"/>
  <Override PartName="/ppt/media/image26.bin" ContentType="image/png"/>
  <Override PartName="/ppt/media/image27.bin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4"/>
    <p:sldMasterId id="2147483729" r:id="rId5"/>
    <p:sldMasterId id="2147483648" r:id="rId6"/>
    <p:sldMasterId id="2147483668" r:id="rId7"/>
    <p:sldMasterId id="2147483739" r:id="rId8"/>
    <p:sldMasterId id="2147483743" r:id="rId9"/>
    <p:sldMasterId id="2147483775" r:id="rId10"/>
  </p:sldMasterIdLst>
  <p:notesMasterIdLst>
    <p:notesMasterId r:id="rId18"/>
  </p:notesMasterIdLst>
  <p:sldIdLst>
    <p:sldId id="342" r:id="rId11"/>
    <p:sldId id="343" r:id="rId12"/>
    <p:sldId id="256" r:id="rId13"/>
    <p:sldId id="346" r:id="rId14"/>
    <p:sldId id="345" r:id="rId15"/>
    <p:sldId id="347" r:id="rId16"/>
    <p:sldId id="344" r:id="rId17"/>
  </p:sldIdLst>
  <p:sldSz cx="12192000" cy="6858000"/>
  <p:notesSz cx="6645275" cy="9777413"/>
  <p:custDataLst>
    <p:tags r:id="rId19"/>
  </p:custDataLst>
  <p:defaultTextStyle>
    <a:defPPr>
      <a:defRPr lang="en-US"/>
    </a:defPPr>
    <a:lvl1pPr marL="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2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05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08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10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11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14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16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19" algn="l" defTabSz="91420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99" autoAdjust="0"/>
  </p:normalViewPr>
  <p:slideViewPr>
    <p:cSldViewPr snapToGrid="0" showGuides="1">
      <p:cViewPr varScale="1">
        <p:scale>
          <a:sx n="112" d="100"/>
          <a:sy n="112" d="100"/>
        </p:scale>
        <p:origin x="492" y="132"/>
      </p:cViewPr>
      <p:guideLst/>
    </p:cSldViewPr>
  </p:slideViewPr>
  <p:outlineViewPr>
    <p:cViewPr>
      <p:scale>
        <a:sx n="33" d="100"/>
        <a:sy n="33" d="100"/>
      </p:scale>
      <p:origin x="0" y="-244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6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45C6D3-1220-4691-9444-E217DD200656}" type="doc">
      <dgm:prSet loTypeId="urn:microsoft.com/office/officeart/2005/8/layout/pyramid1" loCatId="pyramid" qsTypeId="urn:microsoft.com/office/officeart/2005/8/quickstyle/simple1" qsCatId="simple" csTypeId="urn:microsoft.com/office/officeart/2005/8/colors/colorful3" csCatId="colorful" phldr="1"/>
      <dgm:spPr/>
    </dgm:pt>
    <dgm:pt modelId="{4E2A886E-573F-4860-BC65-2C2F977EB34D}">
      <dgm:prSet phldrT="[Text]" custT="1"/>
      <dgm:spPr/>
      <dgm:t>
        <a:bodyPr/>
        <a:lstStyle/>
        <a:p>
          <a:endParaRPr lang="de-DE" sz="1600" dirty="0"/>
        </a:p>
      </dgm:t>
    </dgm:pt>
    <dgm:pt modelId="{FFA5F0B4-2457-426D-99A5-F5752EDB34FB}" type="parTrans" cxnId="{1BCF7C8C-CD02-4B21-B8C5-B60FC5ABCE71}">
      <dgm:prSet/>
      <dgm:spPr/>
      <dgm:t>
        <a:bodyPr/>
        <a:lstStyle/>
        <a:p>
          <a:endParaRPr lang="de-DE" sz="1200"/>
        </a:p>
      </dgm:t>
    </dgm:pt>
    <dgm:pt modelId="{D37449DC-9A74-4235-87F9-C45D0228ADC4}" type="sibTrans" cxnId="{1BCF7C8C-CD02-4B21-B8C5-B60FC5ABCE71}">
      <dgm:prSet/>
      <dgm:spPr/>
      <dgm:t>
        <a:bodyPr/>
        <a:lstStyle/>
        <a:p>
          <a:endParaRPr lang="de-DE" sz="1200"/>
        </a:p>
      </dgm:t>
    </dgm:pt>
    <dgm:pt modelId="{0BADC4AD-E25D-4CAC-B128-0306436D4C99}">
      <dgm:prSet phldrT="[Text]" custT="1"/>
      <dgm:spPr/>
      <dgm:t>
        <a:bodyPr/>
        <a:lstStyle/>
        <a:p>
          <a:r>
            <a:rPr lang="de-DE" sz="1400" b="1" dirty="0" smtClean="0"/>
            <a:t>Admin</a:t>
          </a:r>
          <a:endParaRPr lang="de-DE" sz="1400" b="1" dirty="0"/>
        </a:p>
      </dgm:t>
    </dgm:pt>
    <dgm:pt modelId="{EC3101FE-F61E-427F-9FD9-E2F9AD72540D}" type="parTrans" cxnId="{42E6E4D3-D659-4A03-8944-04AAB91D359A}">
      <dgm:prSet/>
      <dgm:spPr/>
      <dgm:t>
        <a:bodyPr/>
        <a:lstStyle/>
        <a:p>
          <a:endParaRPr lang="de-DE" sz="1200"/>
        </a:p>
      </dgm:t>
    </dgm:pt>
    <dgm:pt modelId="{BF42A3DE-0B08-4000-AC39-2FD692E50DFC}" type="sibTrans" cxnId="{42E6E4D3-D659-4A03-8944-04AAB91D359A}">
      <dgm:prSet/>
      <dgm:spPr/>
      <dgm:t>
        <a:bodyPr/>
        <a:lstStyle/>
        <a:p>
          <a:endParaRPr lang="de-DE" sz="1200"/>
        </a:p>
      </dgm:t>
    </dgm:pt>
    <dgm:pt modelId="{8B24893E-4CEE-437C-BD3B-D55722686336}">
      <dgm:prSet phldrT="[Text]" custT="1"/>
      <dgm:spPr/>
      <dgm:t>
        <a:bodyPr/>
        <a:lstStyle/>
        <a:p>
          <a:r>
            <a:rPr lang="de-DE" sz="1400" b="1" dirty="0" smtClean="0"/>
            <a:t>Nutzer</a:t>
          </a:r>
          <a:endParaRPr lang="de-DE" sz="1200" b="1" dirty="0"/>
        </a:p>
      </dgm:t>
    </dgm:pt>
    <dgm:pt modelId="{E298CC8E-67D3-4ADC-8B34-B367EFCCD483}" type="parTrans" cxnId="{CE2839EF-432C-4657-B1F3-2DFE562987A7}">
      <dgm:prSet/>
      <dgm:spPr/>
      <dgm:t>
        <a:bodyPr/>
        <a:lstStyle/>
        <a:p>
          <a:endParaRPr lang="de-DE" sz="1200"/>
        </a:p>
      </dgm:t>
    </dgm:pt>
    <dgm:pt modelId="{DF58E770-9AD3-49FA-9209-1736388F144F}" type="sibTrans" cxnId="{CE2839EF-432C-4657-B1F3-2DFE562987A7}">
      <dgm:prSet/>
      <dgm:spPr/>
      <dgm:t>
        <a:bodyPr/>
        <a:lstStyle/>
        <a:p>
          <a:endParaRPr lang="de-DE" sz="1200"/>
        </a:p>
      </dgm:t>
    </dgm:pt>
    <dgm:pt modelId="{42023AA1-F618-48A8-A4DD-4C4631C1512A}" type="pres">
      <dgm:prSet presAssocID="{2A45C6D3-1220-4691-9444-E217DD200656}" presName="Name0" presStyleCnt="0">
        <dgm:presLayoutVars>
          <dgm:dir/>
          <dgm:animLvl val="lvl"/>
          <dgm:resizeHandles val="exact"/>
        </dgm:presLayoutVars>
      </dgm:prSet>
      <dgm:spPr/>
    </dgm:pt>
    <dgm:pt modelId="{1D3EF5DA-F10B-4417-9C6B-1A6AC85A5F4A}" type="pres">
      <dgm:prSet presAssocID="{4E2A886E-573F-4860-BC65-2C2F977EB34D}" presName="Name8" presStyleCnt="0"/>
      <dgm:spPr/>
    </dgm:pt>
    <dgm:pt modelId="{ABDFF2FD-33F8-4E23-A677-04F16FD9FD80}" type="pres">
      <dgm:prSet presAssocID="{4E2A886E-573F-4860-BC65-2C2F977EB34D}" presName="level" presStyleLbl="node1" presStyleIdx="0" presStyleCnt="3" custLinFactNeighborY="-135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EFF6401-7BAC-4007-92B7-86BB197AEB95}" type="pres">
      <dgm:prSet presAssocID="{4E2A886E-573F-4860-BC65-2C2F977EB34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985031C0-2816-4ACE-94DE-5048326ED22B}" type="pres">
      <dgm:prSet presAssocID="{0BADC4AD-E25D-4CAC-B128-0306436D4C99}" presName="Name8" presStyleCnt="0"/>
      <dgm:spPr/>
    </dgm:pt>
    <dgm:pt modelId="{04F5CBED-7F43-4E2B-B2EF-237F7C873A6E}" type="pres">
      <dgm:prSet presAssocID="{0BADC4AD-E25D-4CAC-B128-0306436D4C99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287ECEF-E5F9-4E09-A3DF-9951E4B56025}" type="pres">
      <dgm:prSet presAssocID="{0BADC4AD-E25D-4CAC-B128-0306436D4C9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5DB68C9-0E8E-4318-A712-3D376D84DB5D}" type="pres">
      <dgm:prSet presAssocID="{8B24893E-4CEE-437C-BD3B-D55722686336}" presName="Name8" presStyleCnt="0"/>
      <dgm:spPr/>
    </dgm:pt>
    <dgm:pt modelId="{FBAEBF70-7A68-4E5B-8614-8805C22EEECC}" type="pres">
      <dgm:prSet presAssocID="{8B24893E-4CEE-437C-BD3B-D55722686336}" presName="level" presStyleLbl="node1" presStyleIdx="2" presStyleCnt="3" custLinFactNeighborY="1352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C0BD4E7-AD3A-447B-A942-0F587DEDD565}" type="pres">
      <dgm:prSet presAssocID="{8B24893E-4CEE-437C-BD3B-D5572268633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F24D0606-B269-4D2F-A9D9-E3B7A6BCAF89}" type="presOf" srcId="{0BADC4AD-E25D-4CAC-B128-0306436D4C99}" destId="{F287ECEF-E5F9-4E09-A3DF-9951E4B56025}" srcOrd="1" destOrd="0" presId="urn:microsoft.com/office/officeart/2005/8/layout/pyramid1"/>
    <dgm:cxn modelId="{DCA6AA49-C450-468B-A1EF-C8553A29CDDC}" type="presOf" srcId="{8B24893E-4CEE-437C-BD3B-D55722686336}" destId="{4C0BD4E7-AD3A-447B-A942-0F587DEDD565}" srcOrd="1" destOrd="0" presId="urn:microsoft.com/office/officeart/2005/8/layout/pyramid1"/>
    <dgm:cxn modelId="{CE2839EF-432C-4657-B1F3-2DFE562987A7}" srcId="{2A45C6D3-1220-4691-9444-E217DD200656}" destId="{8B24893E-4CEE-437C-BD3B-D55722686336}" srcOrd="2" destOrd="0" parTransId="{E298CC8E-67D3-4ADC-8B34-B367EFCCD483}" sibTransId="{DF58E770-9AD3-49FA-9209-1736388F144F}"/>
    <dgm:cxn modelId="{42E6E4D3-D659-4A03-8944-04AAB91D359A}" srcId="{2A45C6D3-1220-4691-9444-E217DD200656}" destId="{0BADC4AD-E25D-4CAC-B128-0306436D4C99}" srcOrd="1" destOrd="0" parTransId="{EC3101FE-F61E-427F-9FD9-E2F9AD72540D}" sibTransId="{BF42A3DE-0B08-4000-AC39-2FD692E50DFC}"/>
    <dgm:cxn modelId="{6A37A621-95FF-4230-88E7-CB4ECB861E67}" type="presOf" srcId="{2A45C6D3-1220-4691-9444-E217DD200656}" destId="{42023AA1-F618-48A8-A4DD-4C4631C1512A}" srcOrd="0" destOrd="0" presId="urn:microsoft.com/office/officeart/2005/8/layout/pyramid1"/>
    <dgm:cxn modelId="{B33D6C5E-5C60-42E4-B6A5-7055F7D3F27D}" type="presOf" srcId="{0BADC4AD-E25D-4CAC-B128-0306436D4C99}" destId="{04F5CBED-7F43-4E2B-B2EF-237F7C873A6E}" srcOrd="0" destOrd="0" presId="urn:microsoft.com/office/officeart/2005/8/layout/pyramid1"/>
    <dgm:cxn modelId="{ADA17840-E880-4192-A95B-F8553A12AFC9}" type="presOf" srcId="{8B24893E-4CEE-437C-BD3B-D55722686336}" destId="{FBAEBF70-7A68-4E5B-8614-8805C22EEECC}" srcOrd="0" destOrd="0" presId="urn:microsoft.com/office/officeart/2005/8/layout/pyramid1"/>
    <dgm:cxn modelId="{1BCF7C8C-CD02-4B21-B8C5-B60FC5ABCE71}" srcId="{2A45C6D3-1220-4691-9444-E217DD200656}" destId="{4E2A886E-573F-4860-BC65-2C2F977EB34D}" srcOrd="0" destOrd="0" parTransId="{FFA5F0B4-2457-426D-99A5-F5752EDB34FB}" sibTransId="{D37449DC-9A74-4235-87F9-C45D0228ADC4}"/>
    <dgm:cxn modelId="{048786DD-DCCE-4AD5-9366-5EFEC3B5F24B}" type="presOf" srcId="{4E2A886E-573F-4860-BC65-2C2F977EB34D}" destId="{ABDFF2FD-33F8-4E23-A677-04F16FD9FD80}" srcOrd="0" destOrd="0" presId="urn:microsoft.com/office/officeart/2005/8/layout/pyramid1"/>
    <dgm:cxn modelId="{6884EDDA-B7C7-4AFA-8294-5C059B3A0539}" type="presOf" srcId="{4E2A886E-573F-4860-BC65-2C2F977EB34D}" destId="{FEFF6401-7BAC-4007-92B7-86BB197AEB95}" srcOrd="1" destOrd="0" presId="urn:microsoft.com/office/officeart/2005/8/layout/pyramid1"/>
    <dgm:cxn modelId="{694449B9-2176-4923-ADD0-124A329F6BC5}" type="presParOf" srcId="{42023AA1-F618-48A8-A4DD-4C4631C1512A}" destId="{1D3EF5DA-F10B-4417-9C6B-1A6AC85A5F4A}" srcOrd="0" destOrd="0" presId="urn:microsoft.com/office/officeart/2005/8/layout/pyramid1"/>
    <dgm:cxn modelId="{8CF76705-2B4D-4ADC-BBC1-BA88FBDBBEAF}" type="presParOf" srcId="{1D3EF5DA-F10B-4417-9C6B-1A6AC85A5F4A}" destId="{ABDFF2FD-33F8-4E23-A677-04F16FD9FD80}" srcOrd="0" destOrd="0" presId="urn:microsoft.com/office/officeart/2005/8/layout/pyramid1"/>
    <dgm:cxn modelId="{5C2EF65A-0ABA-4D63-BE5D-88034341A2A2}" type="presParOf" srcId="{1D3EF5DA-F10B-4417-9C6B-1A6AC85A5F4A}" destId="{FEFF6401-7BAC-4007-92B7-86BB197AEB95}" srcOrd="1" destOrd="0" presId="urn:microsoft.com/office/officeart/2005/8/layout/pyramid1"/>
    <dgm:cxn modelId="{2D9641DA-E679-4ECB-A47F-C22F0F7D8D24}" type="presParOf" srcId="{42023AA1-F618-48A8-A4DD-4C4631C1512A}" destId="{985031C0-2816-4ACE-94DE-5048326ED22B}" srcOrd="1" destOrd="0" presId="urn:microsoft.com/office/officeart/2005/8/layout/pyramid1"/>
    <dgm:cxn modelId="{10130034-1959-4112-88E9-5EDDA00D9C77}" type="presParOf" srcId="{985031C0-2816-4ACE-94DE-5048326ED22B}" destId="{04F5CBED-7F43-4E2B-B2EF-237F7C873A6E}" srcOrd="0" destOrd="0" presId="urn:microsoft.com/office/officeart/2005/8/layout/pyramid1"/>
    <dgm:cxn modelId="{7C2DADBD-6498-4C8E-A717-D28BCBCD3E16}" type="presParOf" srcId="{985031C0-2816-4ACE-94DE-5048326ED22B}" destId="{F287ECEF-E5F9-4E09-A3DF-9951E4B56025}" srcOrd="1" destOrd="0" presId="urn:microsoft.com/office/officeart/2005/8/layout/pyramid1"/>
    <dgm:cxn modelId="{27142CD9-BA7C-46CB-9C45-60572FB7F3F2}" type="presParOf" srcId="{42023AA1-F618-48A8-A4DD-4C4631C1512A}" destId="{B5DB68C9-0E8E-4318-A712-3D376D84DB5D}" srcOrd="2" destOrd="0" presId="urn:microsoft.com/office/officeart/2005/8/layout/pyramid1"/>
    <dgm:cxn modelId="{F5ADB542-C741-4C57-90CC-326DAA18FD41}" type="presParOf" srcId="{B5DB68C9-0E8E-4318-A712-3D376D84DB5D}" destId="{FBAEBF70-7A68-4E5B-8614-8805C22EEECC}" srcOrd="0" destOrd="0" presId="urn:microsoft.com/office/officeart/2005/8/layout/pyramid1"/>
    <dgm:cxn modelId="{CF26EE99-85D7-46A7-AB45-FAAEE8F3F6B9}" type="presParOf" srcId="{B5DB68C9-0E8E-4318-A712-3D376D84DB5D}" destId="{4C0BD4E7-AD3A-447B-A942-0F587DEDD565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DFF2FD-33F8-4E23-A677-04F16FD9FD80}">
      <dsp:nvSpPr>
        <dsp:cNvPr id="0" name=""/>
        <dsp:cNvSpPr/>
      </dsp:nvSpPr>
      <dsp:spPr>
        <a:xfrm>
          <a:off x="1677458" y="0"/>
          <a:ext cx="1677458" cy="1337180"/>
        </a:xfrm>
        <a:prstGeom prst="trapezoid">
          <a:avLst>
            <a:gd name="adj" fmla="val 62724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600" kern="1200" dirty="0"/>
        </a:p>
      </dsp:txBody>
      <dsp:txXfrm>
        <a:off x="1677458" y="0"/>
        <a:ext cx="1677458" cy="1337180"/>
      </dsp:txXfrm>
    </dsp:sp>
    <dsp:sp modelId="{04F5CBED-7F43-4E2B-B2EF-237F7C873A6E}">
      <dsp:nvSpPr>
        <dsp:cNvPr id="0" name=""/>
        <dsp:cNvSpPr/>
      </dsp:nvSpPr>
      <dsp:spPr>
        <a:xfrm>
          <a:off x="838729" y="1337180"/>
          <a:ext cx="3354917" cy="1337180"/>
        </a:xfrm>
        <a:prstGeom prst="trapezoid">
          <a:avLst>
            <a:gd name="adj" fmla="val 62724"/>
          </a:avLst>
        </a:prstGeom>
        <a:solidFill>
          <a:schemeClr val="accent3">
            <a:hueOff val="-95060"/>
            <a:satOff val="-8259"/>
            <a:lumOff val="4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/>
            <a:t>Admin</a:t>
          </a:r>
          <a:endParaRPr lang="de-DE" sz="1400" b="1" kern="1200" dirty="0"/>
        </a:p>
      </dsp:txBody>
      <dsp:txXfrm>
        <a:off x="1425839" y="1337180"/>
        <a:ext cx="2180696" cy="1337180"/>
      </dsp:txXfrm>
    </dsp:sp>
    <dsp:sp modelId="{FBAEBF70-7A68-4E5B-8614-8805C22EEECC}">
      <dsp:nvSpPr>
        <dsp:cNvPr id="0" name=""/>
        <dsp:cNvSpPr/>
      </dsp:nvSpPr>
      <dsp:spPr>
        <a:xfrm>
          <a:off x="0" y="2674360"/>
          <a:ext cx="5032376" cy="1337180"/>
        </a:xfrm>
        <a:prstGeom prst="trapezoid">
          <a:avLst>
            <a:gd name="adj" fmla="val 62724"/>
          </a:avLst>
        </a:prstGeom>
        <a:solidFill>
          <a:schemeClr val="accent3">
            <a:hueOff val="-190119"/>
            <a:satOff val="-16518"/>
            <a:lumOff val="999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b="1" kern="1200" dirty="0" smtClean="0"/>
            <a:t>Nutzer</a:t>
          </a:r>
          <a:endParaRPr lang="de-DE" sz="1200" b="1" kern="1200" dirty="0"/>
        </a:p>
      </dsp:txBody>
      <dsp:txXfrm>
        <a:off x="880665" y="2674360"/>
        <a:ext cx="3271044" cy="13371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79619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64118" y="0"/>
            <a:ext cx="2879619" cy="4905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8C3D90-D258-41E1-BFE3-29A340648A7E}" type="datetimeFigureOut">
              <a:rPr lang="de-DE" smtClean="0"/>
              <a:t>15.06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8938" y="1222375"/>
            <a:ext cx="5867400" cy="3300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4528" y="4705380"/>
            <a:ext cx="5316220" cy="384985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286846"/>
            <a:ext cx="2879619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64118" y="9286846"/>
            <a:ext cx="2879619" cy="49056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3E0F7A-EA63-40E1-97FB-D173EE3BA0CC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4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1pPr>
    <a:lvl2pPr marL="48375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2pPr>
    <a:lvl3pPr marL="96751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3pPr>
    <a:lvl4pPr marL="1451272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4pPr>
    <a:lvl5pPr marL="193502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5pPr>
    <a:lvl6pPr marL="2418787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902544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86301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870059" algn="l" defTabSz="967514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503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2397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3E0F7A-EA63-40E1-97FB-D173EE3BA0C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3141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sv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sv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w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1.sv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blau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E2EA14D-E275-49FF-9C8E-323C9A806C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90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15B85D1-F199-4887-990C-E3BAA240783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5582171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7D7AB989-3C08-4E8F-9622-DC3B9C5D10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80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2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E761017-7A9E-407D-8DCD-CEDEF7758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pic>
        <p:nvPicPr>
          <p:cNvPr id="5" name="Bildplatzhalter 11">
            <a:extLst>
              <a:ext uri="{FF2B5EF4-FFF2-40B4-BE49-F238E27FC236}">
                <a16:creationId xmlns:a16="http://schemas.microsoft.com/office/drawing/2014/main" id="{727A807A-44F9-421E-99A3-97AA64680286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Grafik 13">
            <a:extLst>
              <a:ext uri="{FF2B5EF4-FFF2-40B4-BE49-F238E27FC236}">
                <a16:creationId xmlns:a16="http://schemas.microsoft.com/office/drawing/2014/main" id="{CE079E16-C310-4874-A85B-DA706D4C21CA}"/>
              </a:ext>
            </a:extLst>
          </p:cNvPr>
          <p:cNvSpPr>
            <a:spLocks noChangeAspect="1"/>
          </p:cNvSpPr>
          <p:nvPr/>
        </p:nvSpPr>
        <p:spPr>
          <a:xfrm>
            <a:off x="3810098" y="1143097"/>
            <a:ext cx="4571808" cy="4571807"/>
          </a:xfrm>
          <a:custGeom>
            <a:avLst/>
            <a:gdLst>
              <a:gd name="connsiteX0" fmla="*/ 3048606 w 5327650"/>
              <a:gd name="connsiteY0" fmla="*/ 4158431 h 5327649"/>
              <a:gd name="connsiteX1" fmla="*/ 3048606 w 5327650"/>
              <a:gd name="connsiteY1" fmla="*/ 1218444 h 5327649"/>
              <a:gd name="connsiteX2" fmla="*/ 2737659 w 5327650"/>
              <a:gd name="connsiteY2" fmla="*/ 905364 h 5327649"/>
              <a:gd name="connsiteX3" fmla="*/ 2049870 w 5327650"/>
              <a:gd name="connsiteY3" fmla="*/ 905364 h 5327649"/>
              <a:gd name="connsiteX4" fmla="*/ 2049870 w 5327650"/>
              <a:gd name="connsiteY4" fmla="*/ 1233529 h 5327649"/>
              <a:gd name="connsiteX5" fmla="*/ 2090888 w 5327650"/>
              <a:gd name="connsiteY5" fmla="*/ 1233529 h 5327649"/>
              <a:gd name="connsiteX6" fmla="*/ 2278251 w 5327650"/>
              <a:gd name="connsiteY6" fmla="*/ 1458216 h 5327649"/>
              <a:gd name="connsiteX7" fmla="*/ 2278251 w 5327650"/>
              <a:gd name="connsiteY7" fmla="*/ 4158431 h 5327649"/>
              <a:gd name="connsiteX8" fmla="*/ 3048606 w 5327650"/>
              <a:gd name="connsiteY8" fmla="*/ 4158431 h 5327649"/>
              <a:gd name="connsiteX9" fmla="*/ 3387869 w 5327650"/>
              <a:gd name="connsiteY9" fmla="*/ 4158431 h 5327649"/>
              <a:gd name="connsiteX10" fmla="*/ 4152137 w 5327650"/>
              <a:gd name="connsiteY10" fmla="*/ 4158431 h 5327649"/>
              <a:gd name="connsiteX11" fmla="*/ 4152137 w 5327650"/>
              <a:gd name="connsiteY11" fmla="*/ 1868687 h 5327649"/>
              <a:gd name="connsiteX12" fmla="*/ 3839602 w 5327650"/>
              <a:gd name="connsiteY12" fmla="*/ 1556136 h 5327649"/>
              <a:gd name="connsiteX13" fmla="*/ 3387869 w 5327650"/>
              <a:gd name="connsiteY13" fmla="*/ 1556136 h 5327649"/>
              <a:gd name="connsiteX14" fmla="*/ 3387869 w 5327650"/>
              <a:gd name="connsiteY14" fmla="*/ 4158431 h 5327649"/>
              <a:gd name="connsiteX15" fmla="*/ 1940840 w 5327650"/>
              <a:gd name="connsiteY15" fmla="*/ 4158431 h 5327649"/>
              <a:gd name="connsiteX16" fmla="*/ 1940840 w 5327650"/>
              <a:gd name="connsiteY16" fmla="*/ 1556136 h 5327649"/>
              <a:gd name="connsiteX17" fmla="*/ 1488048 w 5327650"/>
              <a:gd name="connsiteY17" fmla="*/ 1556136 h 5327649"/>
              <a:gd name="connsiteX18" fmla="*/ 1176307 w 5327650"/>
              <a:gd name="connsiteY18" fmla="*/ 1868687 h 5327649"/>
              <a:gd name="connsiteX19" fmla="*/ 1176307 w 5327650"/>
              <a:gd name="connsiteY19" fmla="*/ 4158431 h 5327649"/>
              <a:gd name="connsiteX20" fmla="*/ 1940840 w 5327650"/>
              <a:gd name="connsiteY20" fmla="*/ 4158431 h 5327649"/>
              <a:gd name="connsiteX21" fmla="*/ 4875123 w 5327650"/>
              <a:gd name="connsiteY21" fmla="*/ 2664222 h 5327649"/>
              <a:gd name="connsiteX22" fmla="*/ 2664090 w 5327650"/>
              <a:gd name="connsiteY22" fmla="*/ 4901565 h 5327649"/>
              <a:gd name="connsiteX23" fmla="*/ 452792 w 5327650"/>
              <a:gd name="connsiteY23" fmla="*/ 2664222 h 5327649"/>
              <a:gd name="connsiteX24" fmla="*/ 2664090 w 5327650"/>
              <a:gd name="connsiteY24" fmla="*/ 426350 h 5327649"/>
              <a:gd name="connsiteX25" fmla="*/ 4875123 w 5327650"/>
              <a:gd name="connsiteY25" fmla="*/ 2664222 h 5327649"/>
              <a:gd name="connsiteX26" fmla="*/ 5327650 w 5327650"/>
              <a:gd name="connsiteY26" fmla="*/ 2657341 h 5327649"/>
              <a:gd name="connsiteX27" fmla="*/ 2667530 w 5327650"/>
              <a:gd name="connsiteY27" fmla="*/ 0 h 5327649"/>
              <a:gd name="connsiteX28" fmla="*/ 2660649 w 5327650"/>
              <a:gd name="connsiteY28" fmla="*/ 0 h 5327649"/>
              <a:gd name="connsiteX29" fmla="*/ 0 w 5327650"/>
              <a:gd name="connsiteY29" fmla="*/ 2664222 h 5327649"/>
              <a:gd name="connsiteX30" fmla="*/ 2664090 w 5327650"/>
              <a:gd name="connsiteY30" fmla="*/ 5327650 h 5327649"/>
              <a:gd name="connsiteX31" fmla="*/ 5327650 w 5327650"/>
              <a:gd name="connsiteY31" fmla="*/ 2670838 h 5327649"/>
              <a:gd name="connsiteX32" fmla="*/ 5327650 w 5327650"/>
              <a:gd name="connsiteY32" fmla="*/ 2657341 h 5327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327650" h="5327649">
                <a:moveTo>
                  <a:pt x="3048606" y="4158431"/>
                </a:moveTo>
                <a:lnTo>
                  <a:pt x="3048606" y="1218444"/>
                </a:lnTo>
                <a:cubicBezTo>
                  <a:pt x="3048606" y="984230"/>
                  <a:pt x="2965245" y="905364"/>
                  <a:pt x="2737659" y="905364"/>
                </a:cubicBezTo>
                <a:lnTo>
                  <a:pt x="2049870" y="905364"/>
                </a:lnTo>
                <a:lnTo>
                  <a:pt x="2049870" y="1233529"/>
                </a:lnTo>
                <a:lnTo>
                  <a:pt x="2090888" y="1233529"/>
                </a:lnTo>
                <a:cubicBezTo>
                  <a:pt x="2248082" y="1233529"/>
                  <a:pt x="2278251" y="1268992"/>
                  <a:pt x="2278251" y="1458216"/>
                </a:cubicBezTo>
                <a:lnTo>
                  <a:pt x="2278251" y="4158431"/>
                </a:lnTo>
                <a:lnTo>
                  <a:pt x="3048606" y="4158431"/>
                </a:lnTo>
                <a:close/>
                <a:moveTo>
                  <a:pt x="3387869" y="4158431"/>
                </a:moveTo>
                <a:lnTo>
                  <a:pt x="4152137" y="4158431"/>
                </a:lnTo>
                <a:lnTo>
                  <a:pt x="4152137" y="1868687"/>
                </a:lnTo>
                <a:cubicBezTo>
                  <a:pt x="4152137" y="1638972"/>
                  <a:pt x="4063484" y="1556136"/>
                  <a:pt x="3839602" y="1556136"/>
                </a:cubicBezTo>
                <a:lnTo>
                  <a:pt x="3387869" y="1556136"/>
                </a:lnTo>
                <a:lnTo>
                  <a:pt x="3387869" y="4158431"/>
                </a:lnTo>
                <a:close/>
                <a:moveTo>
                  <a:pt x="1940840" y="4158431"/>
                </a:moveTo>
                <a:lnTo>
                  <a:pt x="1940840" y="1556136"/>
                </a:lnTo>
                <a:lnTo>
                  <a:pt x="1488048" y="1556136"/>
                </a:lnTo>
                <a:cubicBezTo>
                  <a:pt x="1264166" y="1556136"/>
                  <a:pt x="1176307" y="1638972"/>
                  <a:pt x="1176307" y="1868687"/>
                </a:cubicBezTo>
                <a:lnTo>
                  <a:pt x="1176307" y="4158431"/>
                </a:lnTo>
                <a:lnTo>
                  <a:pt x="1940840" y="4158431"/>
                </a:lnTo>
                <a:close/>
                <a:moveTo>
                  <a:pt x="4875123" y="2664222"/>
                </a:moveTo>
                <a:cubicBezTo>
                  <a:pt x="4875123" y="3959679"/>
                  <a:pt x="3943869" y="4901565"/>
                  <a:pt x="2664090" y="4901565"/>
                </a:cubicBezTo>
                <a:cubicBezTo>
                  <a:pt x="1384310" y="4901565"/>
                  <a:pt x="452792" y="3959679"/>
                  <a:pt x="452792" y="2664222"/>
                </a:cubicBezTo>
                <a:cubicBezTo>
                  <a:pt x="452792" y="1368500"/>
                  <a:pt x="1384310" y="426350"/>
                  <a:pt x="2664090" y="426350"/>
                </a:cubicBezTo>
                <a:cubicBezTo>
                  <a:pt x="3943869" y="426350"/>
                  <a:pt x="4875123" y="1374323"/>
                  <a:pt x="4875123" y="2664222"/>
                </a:cubicBezTo>
                <a:close/>
                <a:moveTo>
                  <a:pt x="5327650" y="2657341"/>
                </a:moveTo>
                <a:cubicBezTo>
                  <a:pt x="5324210" y="1138520"/>
                  <a:pt x="4187599" y="1588"/>
                  <a:pt x="2667530" y="0"/>
                </a:cubicBezTo>
                <a:lnTo>
                  <a:pt x="2660649" y="0"/>
                </a:lnTo>
                <a:cubicBezTo>
                  <a:pt x="1137670" y="1588"/>
                  <a:pt x="0" y="1141961"/>
                  <a:pt x="0" y="2664222"/>
                </a:cubicBezTo>
                <a:cubicBezTo>
                  <a:pt x="0" y="4189395"/>
                  <a:pt x="1139258" y="5327650"/>
                  <a:pt x="2664090" y="5327650"/>
                </a:cubicBezTo>
                <a:cubicBezTo>
                  <a:pt x="4186011" y="5327650"/>
                  <a:pt x="5324210" y="4192835"/>
                  <a:pt x="5327650" y="2670838"/>
                </a:cubicBezTo>
                <a:lnTo>
                  <a:pt x="5327650" y="265734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alpha val="25000"/>
                  <a:lumMod val="100000"/>
                </a:schemeClr>
              </a:gs>
            </a:gsLst>
            <a:lin ang="18900000" scaled="1"/>
            <a:tileRect/>
          </a:gradFill>
          <a:ln w="264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de-DE" sz="1905" noProof="0"/>
          </a:p>
        </p:txBody>
      </p:sp>
    </p:spTree>
    <p:extLst>
      <p:ext uri="{BB962C8B-B14F-4D97-AF65-F5344CB8AC3E}">
        <p14:creationId xmlns:p14="http://schemas.microsoft.com/office/powerpoint/2010/main" val="6481350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299830B-0CAE-490C-9F63-53C4A88A33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57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2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761276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49305DE-D121-4A33-BB7E-01CF022E51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145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89843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649AE2F-D0CD-4D97-986E-CA59CC87C9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709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496664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357F532-F886-4D4E-BCF1-17C6E94E83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03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7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 rtl="0">
              <a:defRPr sz="1600"/>
            </a:lvl1pPr>
            <a:lvl2pPr rtl="0"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401694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EB9E210-F592-461F-86EB-0E09D02366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69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1302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25256A-0555-4922-AC51-957A62755B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055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60970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BD01B21-B0E6-4AA4-80C2-525B3AF9DC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502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 rtl="0"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 rtl="0">
              <a:buNone/>
              <a:defRPr sz="20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087464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 mit Überschrif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A247739-B3AB-4183-8E2B-5E35559ECB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814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760687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1F4C503-1657-4DC8-8F03-0DF873D88C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74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110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2A035A1-EBED-4579-9890-122DA3AD28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2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234A093-8B28-4E43-B2A4-684048524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2315700"/>
            <a:ext cx="11233775" cy="2887655"/>
          </a:xfrm>
        </p:spPr>
        <p:txBody>
          <a:bodyPr vert="horz"/>
          <a:lstStyle>
            <a:lvl1pPr>
              <a:lnSpc>
                <a:spcPts val="8500"/>
              </a:lnSpc>
              <a:defRPr lang="en-US" sz="8500" kern="120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noProof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0A8EF058-F745-44F5-9C5A-CB9010BB23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162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bg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2961236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mit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5CB3512-DAA6-413B-A46A-76848B95FE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44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 rtl="0">
              <a:defRPr sz="1600" b="0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330258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2B95ECE-F187-4154-941D-28EFE23C9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641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87427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Überschrift auf blau/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F09DDC5-4ED1-46F4-B0E1-30696D873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003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 vert="horz"/>
          <a:lstStyle>
            <a:lvl1pPr rtl="0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 rtl="0">
              <a:defRPr sz="1600" b="1"/>
            </a:lvl1pPr>
            <a:lvl2pPr marL="0" indent="0" rtl="0">
              <a:buNone/>
              <a:defRPr sz="1600"/>
            </a:lvl2pPr>
            <a:lvl3pPr rtl="0">
              <a:defRPr sz="1600"/>
            </a:lvl3pPr>
            <a:lvl4pPr rtl="0">
              <a:defRPr sz="1600"/>
            </a:lvl4pPr>
            <a:lvl5pPr rtl="0">
              <a:defRPr sz="1600"/>
            </a:lvl5pPr>
            <a:lvl6pPr rtl="0">
              <a:defRPr/>
            </a:lvl6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89406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BF2F914-C574-4410-9824-F423D478B9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89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5060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große Überschrift und Kopfzei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15A1C5B-3D05-4E1C-9A49-D334A6766E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11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lnSpc>
                <a:spcPts val="8500"/>
              </a:lnSpc>
              <a:defRPr sz="8500"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4340159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8B45A33-2046-40F8-8A80-38E7E9EF77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496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7649159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929F951-FD61-470D-891C-183A89249F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470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31789C7-E5A6-4AA7-BF30-57CEC805A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3"/>
            <a:ext cx="7400615" cy="4357686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60169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olien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4706ADC-7E95-4CF1-91FF-072E9D1C5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256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AD3F89-8F63-4AD4-9A29-6909CDF4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9" y="3031886"/>
            <a:ext cx="5929704" cy="932854"/>
          </a:xfrm>
        </p:spPr>
        <p:txBody>
          <a:bodyPr vert="horz"/>
          <a:lstStyle>
            <a:lvl1pPr defTabSz="720000">
              <a:defRPr lang="en-US" sz="380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2637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6A08C9D-307E-4481-98EE-564E161C1A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73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en-US" dirty="0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6"/>
              </a:buBlip>
              <a:defRPr sz="1600"/>
            </a:lvl3pPr>
            <a:lvl4pPr marL="180000" indent="-180000">
              <a:buFontTx/>
              <a:buBlip>
                <a:blip r:embed="rId7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718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0361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CCDF66-8E5C-4F39-AB66-C73FF47CD2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002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6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Bild durch Klicken auf Symbol hinzufüg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vert="horz"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7409434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A1F44A-5BE3-40C2-AC25-939D4013D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04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1B47329-9857-4D53-8AEE-0DA821EB3F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BA18CC5-0EE1-4A52-A8DC-E8A87E5CEB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2ED1243-6147-42B8-9521-E858A88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808163"/>
            <a:ext cx="11233150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869539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Spalte ohne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54B1A9C-7281-47AB-8693-610D8AA80B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80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66B618-3572-4A35-AE43-3071208EAA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83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B7B621EF-B927-4D07-9494-15D7A83C90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757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5D0B0C-A748-4D32-9576-AC3B06930A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38466069-A1D4-43E3-9D57-F1BB85187B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103C9E28-168F-4D13-868D-27257D6C9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49" y="1808163"/>
            <a:ext cx="5508626" cy="43576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0A950C1-7AA2-4F73-AC21-33D3D0370B4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020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200A47E-A1A9-4037-8833-3671AB79EC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354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C96B8A2-A7F5-4CCA-9AAF-45B703C2E4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F867C49-9429-44E7-8D7C-BE88302188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1CFEB79-DAF0-459A-90C1-93E72C7A1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95C63E0E-3BF5-4908-9362-9309FED383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DFEF79D-1387-4178-94B9-1DC016DC9A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D142C95E-C2F8-4F78-A54D-A69241CB121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EAE339A-6B80-4E81-A55D-5C7A743CA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385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s 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9133B21-53A9-4C10-9A93-A4D7F9A0390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43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 und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690417B-0346-43A2-ACD8-70036BAE8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97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5560388-B2D9-46A0-B80F-A4F52B8241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B5A5C9BE-C1FB-44B5-B87B-4817825EC3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4BDFD4E2-0908-44C9-B61C-E96E93B119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B801B0-E6B4-4F96-8CE5-F9E84D58C40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1983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mit Kopf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AE83ED9-6987-4CDF-AAE4-2D4340186A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00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7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1ED9665-CC57-45BB-925F-9031ABDF5D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C59C485C-B44D-40A1-BE56-1CA8AA189B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76250"/>
            <a:ext cx="9324974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AA99CC9-05C0-45B6-8C99-173138DC655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2190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/Inhalt nebeneinander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256B8D-C1B8-427E-A50C-61CD1EC0B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1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DA1E9D5-A24F-4523-B6CC-0D44E010C4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E701F698-4425-4620-94EB-05146EF47E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 rtl="0">
              <a:defRPr lang="en-US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/>
              <a:t>Kopfzeile Optional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1BBB61B-6E7A-4BFF-9CB2-ED26389C4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11" y="1808162"/>
            <a:ext cx="3584264" cy="4357687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17BF0A-6C84-41F6-BF3F-CBB13FEE33E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95775" y="1808162"/>
            <a:ext cx="7416800" cy="4357687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E89875-00B9-49CB-9A52-F4F62C2F70C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81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CCACD32-53D6-44DF-94E4-6A3BADBB32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05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>
            <a:extLst>
              <a:ext uri="{FF2B5EF4-FFF2-40B4-BE49-F238E27FC236}">
                <a16:creationId xmlns:a16="http://schemas.microsoft.com/office/drawing/2014/main" id="{37A28BB5-45D7-4A7F-B5F7-BB60CFEF37C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800" y="-152396"/>
            <a:ext cx="1103268" cy="936000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AAFA79-6410-48B1-BD41-CB373E0AA9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D128BBF-7995-4434-9230-F239AB8A5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7416798" cy="4357687"/>
          </a:xfrm>
        </p:spPr>
        <p:txBody>
          <a:bodyPr vert="horz"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 noProof="0"/>
              <a:t>Mastertitel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1C1F5E-AD8D-491B-B3B3-0EF68361C67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0963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ue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855A5846-4501-444B-8F41-8054258174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1773239"/>
            <a:ext cx="11233151" cy="1620000"/>
          </a:xfrm>
        </p:spPr>
        <p:txBody>
          <a:bodyPr rIns="216000" anchor="b" anchorCtr="0"/>
          <a:lstStyle>
            <a:lvl1pPr algn="l">
              <a:lnSpc>
                <a:spcPts val="8500"/>
              </a:lnSpc>
              <a:defRPr sz="85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6" y="3384000"/>
            <a:ext cx="7416800" cy="1656000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  <a:p>
            <a:pPr lvl="0"/>
            <a:r>
              <a:rPr lang="de-DE"/>
              <a:t>Zweite Zeil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179C16DE-E856-43D9-8CC3-1F8444D9F57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tx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291431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auf hellbl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DF4A1DF-713D-4032-9E67-CD3D3AA570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87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2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A76155D-28BD-4C10-BAB6-57A10E8FE88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4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rgbClr val="122B54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tx1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92D22C-1315-4D74-BBBB-BCE2FB7714B2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C2789B9-E108-4B68-95AC-2F43EFACBD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162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FA13754-0890-465C-BA8A-E18B554E31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8" name="Untertitel 2">
            <a:extLst>
              <a:ext uri="{FF2B5EF4-FFF2-40B4-BE49-F238E27FC236}">
                <a16:creationId xmlns:a16="http://schemas.microsoft.com/office/drawing/2014/main" id="{7909B2E5-8CFF-4102-B771-B048BAA6DB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8800" y="2315702"/>
            <a:ext cx="11233776" cy="2887655"/>
          </a:xfrm>
        </p:spPr>
        <p:txBody>
          <a:bodyPr rIns="216000"/>
          <a:lstStyle>
            <a:lvl1pPr marL="0" indent="0" algn="l">
              <a:lnSpc>
                <a:spcPts val="8500"/>
              </a:lnSpc>
              <a:buNone/>
              <a:defRPr sz="8500">
                <a:solidFill>
                  <a:schemeClr val="bg1"/>
                </a:solidFill>
              </a:defRPr>
            </a:lvl1pPr>
            <a:lvl2pPr marL="0" indent="0" algn="l">
              <a:lnSpc>
                <a:spcPts val="8500"/>
              </a:lnSpc>
              <a:buNone/>
              <a:defRPr sz="8500">
                <a:solidFill>
                  <a:srgbClr val="13A0D3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titel</a:t>
            </a:r>
          </a:p>
          <a:p>
            <a:pPr lvl="1"/>
            <a:r>
              <a:rPr lang="de-DE"/>
              <a:t>Untertitelformat</a:t>
            </a:r>
          </a:p>
        </p:txBody>
      </p:sp>
      <p:sp>
        <p:nvSpPr>
          <p:cNvPr id="9" name="Textplatzhalter 14">
            <a:extLst>
              <a:ext uri="{FF2B5EF4-FFF2-40B4-BE49-F238E27FC236}">
                <a16:creationId xmlns:a16="http://schemas.microsoft.com/office/drawing/2014/main" id="{A89B177C-F8F6-4738-B4AF-9E4A824385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0" name="Textplatzhalter 14">
            <a:extLst>
              <a:ext uri="{FF2B5EF4-FFF2-40B4-BE49-F238E27FC236}">
                <a16:creationId xmlns:a16="http://schemas.microsoft.com/office/drawing/2014/main" id="{D04322D5-0CE0-4328-BE55-EFF287C34B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86C3196C-51EB-4FB9-9C8C-351F403DEE6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016000" y="5772439"/>
            <a:ext cx="1282161" cy="14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914303" rtl="0" eaLnBrk="1" latinLnBrk="0" hangingPunct="1">
              <a:lnSpc>
                <a:spcPct val="100000"/>
              </a:lnSpc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03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54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0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55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07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58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09" algn="l" defTabSz="91430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00" dirty="0">
                <a:solidFill>
                  <a:schemeClr val="bg1"/>
                </a:solidFill>
              </a:rPr>
              <a:t>© Allianz 2021</a:t>
            </a:r>
          </a:p>
        </p:txBody>
      </p:sp>
    </p:spTree>
    <p:extLst>
      <p:ext uri="{BB962C8B-B14F-4D97-AF65-F5344CB8AC3E}">
        <p14:creationId xmlns:p14="http://schemas.microsoft.com/office/powerpoint/2010/main" val="2100769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2581BF6-597A-45B4-8AC9-E60836C8E9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35200" y="2"/>
            <a:ext cx="6858000" cy="685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836000"/>
            <a:ext cx="4680000" cy="2400235"/>
          </a:xfrm>
        </p:spPr>
        <p:txBody>
          <a:bodyPr rIns="216000" anchor="ctr" anchorCtr="0"/>
          <a:lstStyle>
            <a:lvl1pPr algn="l">
              <a:lnSpc>
                <a:spcPts val="7000"/>
              </a:lnSpc>
              <a:defRPr sz="7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8800" y="4788000"/>
            <a:ext cx="4680000" cy="562065"/>
          </a:xfrm>
        </p:spPr>
        <p:txBody>
          <a:bodyPr rIns="216000"/>
          <a:lstStyle>
            <a:lvl1pPr marL="0" indent="0" algn="l">
              <a:buNone/>
              <a:defRPr sz="1600"/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Master-Untertitelformat bearbeite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DB0C78F-5BF6-4741-8EF4-0317AF8FB6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25" y="476250"/>
            <a:ext cx="2057313" cy="509277"/>
          </a:xfrm>
          <a:prstGeom prst="rect">
            <a:avLst/>
          </a:prstGeom>
        </p:spPr>
      </p:pic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010BB3A1-81DC-451B-8834-303DDC61D1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8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14" name="Textplatzhalter 14">
            <a:extLst>
              <a:ext uri="{FF2B5EF4-FFF2-40B4-BE49-F238E27FC236}">
                <a16:creationId xmlns:a16="http://schemas.microsoft.com/office/drawing/2014/main" id="{C2200793-2927-4E26-AE27-C3EF192AC9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5968800"/>
            <a:ext cx="1692900" cy="546124"/>
          </a:xfrm>
        </p:spPr>
        <p:txBody>
          <a:bodyPr anchor="b" anchorCtr="0"/>
          <a:lstStyle>
            <a:lvl1pPr>
              <a:lnSpc>
                <a:spcPct val="100000"/>
              </a:lnSpc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rs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44D99D3-D209-4B5F-AFD8-F759B2994FF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1016000" y="5772158"/>
            <a:ext cx="1281600" cy="144000"/>
          </a:xfrm>
        </p:spPr>
        <p:txBody>
          <a:bodyPr anchor="b" anchorCtr="0"/>
          <a:lstStyle>
            <a:lvl1pPr>
              <a:defRPr sz="800">
                <a:solidFill>
                  <a:schemeClr val="tx1"/>
                </a:solidFill>
              </a:defRPr>
            </a:lvl1pPr>
            <a:lvl5pPr marL="288000" indent="0">
              <a:buNone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68143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6928"/>
            <a:ext cx="6097059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820232"/>
            <a:ext cx="4324912" cy="1528407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buAutoNum type="arabicParenR"/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4" name="Tabellenplatzhalter 3"/>
          <p:cNvSpPr>
            <a:spLocks noGrp="1"/>
          </p:cNvSpPr>
          <p:nvPr>
            <p:ph type="tbl" sz="quarter" idx="14"/>
          </p:nvPr>
        </p:nvSpPr>
        <p:spPr>
          <a:xfrm>
            <a:off x="6363530" y="515819"/>
            <a:ext cx="5325167" cy="5834299"/>
          </a:xfrm>
          <a:prstGeom prst="rect">
            <a:avLst/>
          </a:prstGeom>
        </p:spPr>
        <p:txBody>
          <a:bodyPr anchor="ctr"/>
          <a:lstStyle>
            <a:lvl1pPr algn="ctr">
              <a:defRPr sz="1999"/>
            </a:lvl1pPr>
          </a:lstStyle>
          <a:p>
            <a:r>
              <a:rPr lang="de-DE" noProof="0"/>
              <a:t>Tabelle durch Klicken auf Symbol hinzufügen</a:t>
            </a:r>
            <a:endParaRPr lang="de-DE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0"/>
            <a:ext cx="5588993" cy="3023636"/>
          </a:xfrm>
        </p:spPr>
        <p:txBody>
          <a:bodyPr/>
          <a:lstStyle>
            <a:lvl1pPr>
              <a:defRPr lang="en-GB" sz="4399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6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9309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Board Präsentatio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5083350" cy="4573537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4" hasCustomPrompt="1"/>
          </p:nvPr>
        </p:nvSpPr>
        <p:spPr>
          <a:xfrm>
            <a:off x="5083350" y="2"/>
            <a:ext cx="7108650" cy="534863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8143348" cy="2087748"/>
          </a:xfrm>
        </p:spPr>
        <p:txBody>
          <a:bodyPr/>
          <a:lstStyle>
            <a:lvl1pPr>
              <a:defRPr lang="en-GB" sz="4399" b="1" kern="1200" cap="none" baseline="0" dirty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2997052"/>
            <a:ext cx="4324912" cy="1528408"/>
          </a:xfrm>
          <a:prstGeom prst="rect">
            <a:avLst/>
          </a:prstGeom>
        </p:spPr>
        <p:txBody>
          <a:bodyPr tIns="108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1400" b="0" kern="1200" cap="none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3pPr>
            <a:lvl4pPr>
              <a:lnSpc>
                <a:spcPct val="100000"/>
              </a:lnSpc>
              <a:buAutoNum type="arabicPeriod"/>
              <a:defRPr sz="1200">
                <a:solidFill>
                  <a:srgbClr val="00378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rgbClr val="003781"/>
                </a:solidFill>
              </a:defRPr>
            </a:lvl5pPr>
            <a:lvl6pPr>
              <a:defRPr>
                <a:solidFill>
                  <a:srgbClr val="003781"/>
                </a:solidFill>
              </a:defRPr>
            </a:lvl6pPr>
            <a:lvl7pPr>
              <a:defRPr>
                <a:solidFill>
                  <a:srgbClr val="003781"/>
                </a:solidFill>
              </a:defRPr>
            </a:lvl7pPr>
            <a:lvl8pPr>
              <a:defRPr>
                <a:solidFill>
                  <a:srgbClr val="003781"/>
                </a:solidFill>
              </a:defRPr>
            </a:lvl8pPr>
            <a:lvl9pPr>
              <a:defRPr>
                <a:solidFill>
                  <a:srgbClr val="003781"/>
                </a:solidFill>
              </a:defRPr>
            </a:lvl9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7975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1350" y="6928"/>
            <a:ext cx="4567348" cy="4838124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1346" cy="635056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8420" y="3307584"/>
            <a:ext cx="3966243" cy="1561243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34695" y="765320"/>
            <a:ext cx="6099969" cy="2519697"/>
          </a:xfrm>
        </p:spPr>
        <p:txBody>
          <a:bodyPr/>
          <a:lstStyle>
            <a:lvl1pPr>
              <a:defRPr sz="4399">
                <a:solidFill>
                  <a:srgbClr val="007D8C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389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A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7121350" y="6928"/>
            <a:ext cx="4567348" cy="4838124"/>
          </a:xfrm>
          <a:solidFill>
            <a:srgbClr val="CFE9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2" y="0"/>
            <a:ext cx="7121346" cy="635056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468420" y="3307584"/>
            <a:ext cx="3966243" cy="1561243"/>
          </a:xfrm>
          <a:prstGeom prst="rect">
            <a:avLst/>
          </a:prstGeom>
        </p:spPr>
        <p:txBody>
          <a:bodyPr rIns="18000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7013" y="765320"/>
            <a:ext cx="6347650" cy="2519697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10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913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5083350" cy="6362814"/>
          </a:xfr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3351" y="6927"/>
            <a:ext cx="4830290" cy="4571951"/>
          </a:xfrm>
          <a:solidFill>
            <a:srgbClr val="D4D5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313933"/>
            <a:ext cx="4243026" cy="20588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7976179" cy="2303723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FB3C14F-FABF-4307-AE02-DE4512D9911E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73261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B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8" hasCustomPrompt="1"/>
          </p:nvPr>
        </p:nvSpPr>
        <p:spPr>
          <a:xfrm>
            <a:off x="1" y="1"/>
            <a:ext cx="5083350" cy="6350559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5083351" y="6927"/>
            <a:ext cx="4830290" cy="4571951"/>
          </a:xfrm>
          <a:solidFill>
            <a:srgbClr val="CAD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508066" y="3313933"/>
            <a:ext cx="4243026" cy="2058833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600" cap="none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200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Untertitel</a:t>
            </a:r>
          </a:p>
          <a:p>
            <a:pPr lvl="1"/>
            <a:r>
              <a:rPr lang="de-DE" noProof="0" dirty="0"/>
              <a:t>Tex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1"/>
            <a:ext cx="7976179" cy="2303723"/>
          </a:xfrm>
        </p:spPr>
        <p:txBody>
          <a:bodyPr/>
          <a:lstStyle>
            <a:lvl1pPr>
              <a:defRPr sz="4399">
                <a:solidFill>
                  <a:schemeClr val="accent5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pic>
        <p:nvPicPr>
          <p:cNvPr id="7" name="Bild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1396" y="5841749"/>
            <a:ext cx="2035239" cy="50881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34086D2-D6B9-4FB1-9FEC-C23B4928AA9B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58926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D7D3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832980" y="1030049"/>
            <a:ext cx="6601685" cy="4818301"/>
          </a:xfrm>
          <a:prstGeom prst="rect">
            <a:avLst/>
          </a:prstGeom>
        </p:spPr>
        <p:txBody>
          <a:bodyPr wrap="square" tIns="0"/>
          <a:lstStyle>
            <a:lvl1pPr marL="0" algn="l" defTabSz="1218897" rtl="0" eaLnBrk="1" latinLnBrk="0" hangingPunct="1">
              <a:spcAft>
                <a:spcPts val="4799"/>
              </a:spcAft>
              <a:defRPr lang="de-DE" sz="1600" b="1" kern="1200" cap="none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100">
                <a:solidFill>
                  <a:schemeClr val="tx1"/>
                </a:solidFill>
              </a:defRPr>
            </a:lvl5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marL="0" marR="0" lvl="1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2</a:t>
            </a:r>
          </a:p>
          <a:p>
            <a:pPr marL="0" marR="0" lvl="2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3</a:t>
            </a:r>
          </a:p>
          <a:p>
            <a:pPr marL="0" marR="0" lvl="3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4</a:t>
            </a:r>
          </a:p>
          <a:p>
            <a:pPr marL="0" marR="0" lvl="4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5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1884" y="768173"/>
            <a:ext cx="4161095" cy="4388619"/>
          </a:xfrm>
        </p:spPr>
        <p:txBody>
          <a:bodyPr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FA10177-0A69-40D8-BA85-369C5BEC07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D399976-E31E-4BF2-BFD3-F926A61DCA0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542C7D3-D59B-4F96-9599-2B9A60F3E29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5790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Freistel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" y="2552109"/>
            <a:ext cx="5601428" cy="3324597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849112" y="1530351"/>
            <a:ext cx="6342887" cy="4838700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40"/>
            <a:ext cx="4826628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66" y="0"/>
            <a:ext cx="8143348" cy="3307583"/>
          </a:xfrm>
        </p:spPr>
        <p:txBody>
          <a:bodyPr tIns="216000"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8FE338E-9F1E-4B13-B2B6-2D815DEC2F7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9E0863-CD90-4EF9-B5CB-0C006AAF4F3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AA6A49-E401-4339-8FE4-2D5B6EB16F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9051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auf wei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58B8D7C-1044-4936-B82D-0C0F4AE520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585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6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896FE83-F99B-4339-865C-D01C13BF52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53A991D-E53C-4B2C-9CE8-F24616E7F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9425" y="496800"/>
            <a:ext cx="1692275" cy="1044000"/>
          </a:xfrm>
        </p:spPr>
        <p:txBody>
          <a:bodyPr anchor="t" anchorCtr="0"/>
          <a:lstStyle>
            <a:lvl1pPr algn="l">
              <a:lnSpc>
                <a:spcPct val="80000"/>
              </a:lnSpc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1620000"/>
            <a:ext cx="11233150" cy="1676355"/>
          </a:xfrm>
        </p:spPr>
        <p:txBody>
          <a:bodyPr vert="horz" rIns="216000" anchor="b" anchorCtr="0"/>
          <a:lstStyle>
            <a:lvl1pPr algn="l">
              <a:lnSpc>
                <a:spcPct val="80000"/>
              </a:lnSpc>
              <a:defRPr sz="85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95775" y="3240000"/>
            <a:ext cx="7416800" cy="1676355"/>
          </a:xfrm>
        </p:spPr>
        <p:txBody>
          <a:bodyPr rIns="216000"/>
          <a:lstStyle>
            <a:lvl1pPr marL="0" indent="0" algn="l">
              <a:lnSpc>
                <a:spcPct val="80000"/>
              </a:lnSpc>
              <a:buNone/>
              <a:defRPr sz="8500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1044055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6928"/>
            <a:ext cx="5087756" cy="5841422"/>
          </a:xfrm>
          <a:solidFill>
            <a:srgbClr val="EFE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5086351" y="1028463"/>
            <a:ext cx="7105649" cy="5340589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4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59940"/>
            <a:ext cx="4324913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508066" y="0"/>
            <a:ext cx="7373310" cy="3307585"/>
          </a:xfrm>
        </p:spPr>
        <p:txBody>
          <a:bodyPr tIns="216000"/>
          <a:lstStyle>
            <a:lvl1pPr>
              <a:defRPr sz="43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6323313-B9B3-4D93-9E2C-A260470931E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EBBE75C-2ACB-48AF-A9D7-859AD57D14F3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7185015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mit Z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2" y="2552111"/>
            <a:ext cx="5601428" cy="3324596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601430" y="2552110"/>
            <a:ext cx="5921821" cy="3296240"/>
          </a:xfrm>
        </p:spPr>
        <p:txBody>
          <a:bodyPr lIns="360000" tIns="216000" rIns="0" anchor="t"/>
          <a:lstStyle>
            <a:lvl1pPr>
              <a:defRPr lang="de-DE" sz="19996" b="1" kern="1200" cap="all" dirty="0" smtClean="0">
                <a:solidFill>
                  <a:srgbClr val="8A669D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1"/>
            <a:ext cx="7619405" cy="2480686"/>
          </a:xfrm>
          <a:prstGeom prst="rect">
            <a:avLst/>
          </a:prstGeom>
        </p:spPr>
        <p:txBody>
          <a:bodyPr tIns="0" bIns="216000" anchor="b"/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 mit Textlauf von unten nach oben</a:t>
            </a:r>
          </a:p>
        </p:txBody>
      </p:sp>
      <p:sp>
        <p:nvSpPr>
          <p:cNvPr id="213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8" y="3559940"/>
            <a:ext cx="4826628" cy="228841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/>
            </a:lvl1pPr>
            <a:lvl2pPr>
              <a:lnSpc>
                <a:spcPct val="100000"/>
              </a:lnSpc>
              <a:defRPr sz="1600"/>
            </a:lvl2pPr>
            <a:lvl3pPr>
              <a:lnSpc>
                <a:spcPct val="100000"/>
              </a:lnSpc>
              <a:defRPr sz="1400"/>
            </a:lvl3pPr>
            <a:lvl4pPr>
              <a:lnSpc>
                <a:spcPct val="100000"/>
              </a:lnSpc>
              <a:defRPr sz="1400"/>
            </a:lvl4pPr>
            <a:lvl5pPr>
              <a:lnSpc>
                <a:spcPct val="100000"/>
              </a:lnSpc>
              <a:defRPr sz="1400"/>
            </a:lvl5pPr>
            <a:lvl6pPr>
              <a:lnSpc>
                <a:spcPct val="100000"/>
              </a:lnSpc>
              <a:defRPr sz="1200"/>
            </a:lvl6pPr>
            <a:lvl7pPr>
              <a:lnSpc>
                <a:spcPct val="100000"/>
              </a:lnSpc>
              <a:defRPr sz="1200"/>
            </a:lvl7pPr>
            <a:lvl8pPr>
              <a:lnSpc>
                <a:spcPct val="100000"/>
              </a:lnSpc>
              <a:defRPr sz="1100"/>
            </a:lvl8pPr>
            <a:lvl9pPr>
              <a:lnSpc>
                <a:spcPct val="100000"/>
              </a:lnSpc>
              <a:defRPr sz="800"/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6350ADF-D957-43A1-B3F2-6374668436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97BF858-EC41-4D52-9C5D-7F2DEA1700A4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D76F2F-DA5D-444B-AF80-ACA005B5425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69301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eltrenn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2192000" cy="6858000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65148" y="2552110"/>
            <a:ext cx="4567831" cy="3296240"/>
          </a:xfrm>
        </p:spPr>
        <p:txBody>
          <a:bodyPr lIns="144000" tIns="216000" rIns="0" anchor="t"/>
          <a:lstStyle>
            <a:lvl1pPr>
              <a:defRPr lang="de-DE" sz="19996" b="1" kern="1200" cap="all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00</a:t>
            </a:r>
            <a:br>
              <a:rPr lang="de-DE" noProof="0" dirty="0"/>
            </a:br>
            <a:endParaRPr lang="de-DE" noProof="0" dirty="0"/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6" y="515821"/>
            <a:ext cx="8143348" cy="2537824"/>
          </a:xfrm>
          <a:prstGeom prst="rect">
            <a:avLst/>
          </a:prstGeom>
        </p:spPr>
        <p:txBody>
          <a:bodyPr tIns="0" bIns="180000" anchor="b">
            <a:normAutofit/>
          </a:bodyPr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9135619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12192000" cy="6858000"/>
          </a:xfrm>
          <a:solidFill>
            <a:srgbClr val="4964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55" name="Textplatzhalter 54"/>
          <p:cNvSpPr>
            <a:spLocks noGrp="1"/>
          </p:cNvSpPr>
          <p:nvPr>
            <p:ph type="body" sz="quarter" idx="14" hasCustomPrompt="1"/>
          </p:nvPr>
        </p:nvSpPr>
        <p:spPr>
          <a:xfrm>
            <a:off x="508067" y="515821"/>
            <a:ext cx="8143347" cy="2537824"/>
          </a:xfrm>
          <a:prstGeom prst="rect">
            <a:avLst/>
          </a:prstGeom>
        </p:spPr>
        <p:txBody>
          <a:bodyPr tIns="0" bIns="180000" anchor="b"/>
          <a:lstStyle>
            <a:lvl1pPr marL="0" algn="l" defTabSz="1218897" rtl="0" eaLnBrk="1" latinLnBrk="0" hangingPunct="1">
              <a:defRPr lang="de-DE" sz="4399" b="1" kern="1200" cap="none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 noProof="0" dirty="0"/>
              <a:t>Überschrif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7" y="3542158"/>
            <a:ext cx="5588727" cy="255052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100">
                <a:solidFill>
                  <a:schemeClr val="bg1"/>
                </a:solidFill>
              </a:defRPr>
            </a:lvl6pPr>
            <a:lvl7pPr>
              <a:defRPr sz="1100"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21316443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7" y="1522062"/>
            <a:ext cx="11180631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799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799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400">
                <a:solidFill>
                  <a:schemeClr val="tx1"/>
                </a:solidFill>
              </a:defRPr>
            </a:lvl7pPr>
            <a:lvl8pPr>
              <a:defRPr sz="12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1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5914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239BBA8-66BA-448F-BEE8-82D7973C516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15CE0B6-1321-415B-A439-77AF231D14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039E3C-DD5F-4BAD-98F0-ADE35E3C274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3C87A0-3738-4FF5-80F0-235C6D349E0C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191468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mit kleiner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8F4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7" y="1522062"/>
            <a:ext cx="11180631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4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6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2A6A2E8-372C-4E43-82B9-08FE1130390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A2DBB80-5060-4CFF-AF13-B5C215B3DA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7EC8B82-5786-469B-814F-C91EADF897E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30756E-F76D-4AB5-BCF3-0FACC74F6B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806743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 und 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/>
              <a:t>Textmaster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B9BE267-99DD-49E4-A6A1-BE32DB4AF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CFDF31C-1113-449D-A048-12184353672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CAE917-A544-4EDD-8FF8-CCB4A82B446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67559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6" y="766622"/>
            <a:ext cx="4324912" cy="4603334"/>
          </a:xfrm>
        </p:spPr>
        <p:txBody>
          <a:bodyPr/>
          <a:lstStyle>
            <a:lvl1pPr>
              <a:defRPr lang="en-GB" sz="3599" b="1" kern="1200" cap="none" baseline="0" noProof="0" dirty="0" smtClean="0">
                <a:solidFill>
                  <a:srgbClr val="00378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70434D3-A318-425A-B509-571965B46E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B99669E-A128-4852-8E19-2DE4705400D8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959070B-37DB-4634-B129-A5A05836D35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36312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E6F4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2980" y="1272882"/>
            <a:ext cx="6601685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7" y="768173"/>
            <a:ext cx="4324913" cy="4604595"/>
          </a:xfrm>
        </p:spPr>
        <p:txBody>
          <a:bodyPr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1DE383B-D75C-4C93-8041-C379C213A3E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8A757-5A94-43AC-8131-26574A279B7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A7E6BE-4E57-443C-AE5C-F1246618DE7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5958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kaler Balken und 2spaltig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FAF7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>
            <a:noAutofit/>
          </a:bodyPr>
          <a:lstStyle>
            <a:lvl1pPr>
              <a:defRPr lang="de-DE" sz="106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4834652" y="1272882"/>
            <a:ext cx="3300758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8389442" y="1272882"/>
            <a:ext cx="3301629" cy="481979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7" y="768170"/>
            <a:ext cx="4324913" cy="4603334"/>
          </a:xfrm>
        </p:spPr>
        <p:txBody>
          <a:bodyPr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22EDD2-EA4A-460A-9FB4-2E698E0E505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77EBF5E-6347-4549-B73A-D2C026822E21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AD2322-B38C-4ACA-ADC7-DBFDB39809A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81699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Schrift groß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BF801A-629E-4552-9720-E76597C9F2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791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0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84903B4-6642-4AFF-90D9-E8903BFF6D0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  <a:prstGeom prst="rect">
            <a:avLst/>
          </a:prstGeo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  <a:prstGeom prst="rect">
            <a:avLst/>
          </a:prstGeo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74A9CB5-CAA2-4A49-8F24-799255B5E57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2512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B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07" name="Inhaltsplatzhalter 13" descr="Spalte links" title="Spalte links"/>
          <p:cNvSpPr>
            <a:spLocks noGrp="1"/>
          </p:cNvSpPr>
          <p:nvPr>
            <p:ph sz="quarter" idx="14" hasCustomPrompt="1"/>
          </p:nvPr>
        </p:nvSpPr>
        <p:spPr>
          <a:xfrm>
            <a:off x="508067" y="1522062"/>
            <a:ext cx="5404027" cy="457061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208" name="Inhaltsplatzhalter 13" descr="Spalte links" title="Spalte links"/>
          <p:cNvSpPr>
            <a:spLocks noGrp="1"/>
          </p:cNvSpPr>
          <p:nvPr>
            <p:ph sz="quarter" idx="15" hasCustomPrompt="1"/>
          </p:nvPr>
        </p:nvSpPr>
        <p:spPr>
          <a:xfrm>
            <a:off x="6282818" y="1522062"/>
            <a:ext cx="5404304" cy="4570618"/>
          </a:xfrm>
          <a:prstGeom prst="rect">
            <a:avLst/>
          </a:prstGeom>
        </p:spPr>
        <p:txBody>
          <a:bodyPr rIns="0">
            <a:noAutofit/>
          </a:bodyPr>
          <a:lstStyle>
            <a:lvl1pPr>
              <a:lnSpc>
                <a:spcPts val="1920"/>
              </a:lnSpc>
              <a:spcAft>
                <a:spcPts val="0"/>
              </a:spcAft>
              <a:defRPr sz="1600" baseline="0">
                <a:solidFill>
                  <a:schemeClr val="tx1"/>
                </a:solidFill>
              </a:defRPr>
            </a:lvl1pPr>
            <a:lvl2pPr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2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00"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9D5F851-3751-47F3-A82B-D2F55BFB35D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ED4AB3A-F6AA-4845-8219-4380C6CCB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B433DA-14B5-4763-BD0A-36C884E637B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6C9DCC-4841-48A4-B272-BED6B4A2B67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75400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platzhalter 23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2552110"/>
            <a:ext cx="5849111" cy="3296239"/>
          </a:xfr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7" y="981296"/>
            <a:ext cx="4575285" cy="2536238"/>
          </a:xfrm>
        </p:spPr>
        <p:txBody>
          <a:bodyPr tIns="0" bIns="180000" anchor="b"/>
          <a:lstStyle>
            <a:lvl1pPr>
              <a:defRPr sz="3599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3820230"/>
            <a:ext cx="4575284" cy="2278909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096796" y="1030049"/>
            <a:ext cx="5426456" cy="481853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</p:txBody>
      </p:sp>
      <p:sp>
        <p:nvSpPr>
          <p:cNvPr id="48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8563317-EC53-4DDB-BC1D-C64142E1B01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B89FC5-1446-44AC-91EC-1282F39D2DC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8E9C2D-6D9B-467E-8ADE-0987092964E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31639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23"/>
          <p:cNvSpPr>
            <a:spLocks noGrp="1"/>
          </p:cNvSpPr>
          <p:nvPr>
            <p:ph type="body" sz="quarter" idx="23" hasCustomPrompt="1"/>
          </p:nvPr>
        </p:nvSpPr>
        <p:spPr>
          <a:xfrm>
            <a:off x="0" y="2552110"/>
            <a:ext cx="5849111" cy="3296239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dirty="0"/>
              <a:t>Textmaster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4" hasCustomPrompt="1"/>
          </p:nvPr>
        </p:nvSpPr>
        <p:spPr>
          <a:xfrm>
            <a:off x="508067" y="260292"/>
            <a:ext cx="5587140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08067" y="981296"/>
            <a:ext cx="4575285" cy="2536238"/>
          </a:xfrm>
        </p:spPr>
        <p:txBody>
          <a:bodyPr tIns="0" bIns="180000" anchor="b"/>
          <a:lstStyle>
            <a:lvl1pPr>
              <a:defRPr sz="3599" baseline="0">
                <a:solidFill>
                  <a:schemeClr val="tx2"/>
                </a:solidFill>
              </a:defRPr>
            </a:lvl1pPr>
          </a:lstStyle>
          <a:p>
            <a:r>
              <a:rPr lang="de-DE" noProof="0" dirty="0"/>
              <a:t>Überschrift mit </a:t>
            </a:r>
            <a:r>
              <a:rPr lang="de-DE" noProof="0" dirty="0" err="1"/>
              <a:t>Textlauf</a:t>
            </a:r>
            <a:r>
              <a:rPr lang="de-DE" noProof="0" dirty="0"/>
              <a:t> von unten nach ob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3820230"/>
            <a:ext cx="4575284" cy="22724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5849111" y="1030051"/>
            <a:ext cx="5674139" cy="5062627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680B9FF-3241-4463-A371-ABE88473E7D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BDB9FD8-357C-472F-BC6C-77F44CF8B8B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3D69516C-1265-417B-9C12-346C9621966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08039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nderformat mit Inhal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6928"/>
            <a:ext cx="1530549" cy="5841422"/>
          </a:xfrm>
          <a:solidFill>
            <a:srgbClr val="E1CF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66" y="765322"/>
            <a:ext cx="6960355" cy="2303722"/>
          </a:xfrm>
        </p:spPr>
        <p:txBody>
          <a:bodyPr/>
          <a:lstStyle>
            <a:lvl1pPr>
              <a:defRPr lang="en-GB" sz="3599" b="1" kern="1200" cap="none" baseline="0" dirty="0">
                <a:solidFill>
                  <a:srgbClr val="5A398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noProof="0" dirty="0"/>
              <a:t>Überschrift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 hasCustomPrompt="1"/>
          </p:nvPr>
        </p:nvSpPr>
        <p:spPr>
          <a:xfrm>
            <a:off x="6096794" y="1020844"/>
            <a:ext cx="6095205" cy="5837156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06" name="Textplatzhalt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08066" y="3559940"/>
            <a:ext cx="5587933" cy="2288412"/>
          </a:xfrm>
          <a:prstGeom prst="rect">
            <a:avLst/>
          </a:prstGeom>
        </p:spPr>
        <p:txBody>
          <a:bodyPr rIns="180000"/>
          <a:lstStyle>
            <a:lvl1pPr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defRPr sz="1600" cap="none" baseline="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200">
                <a:solidFill>
                  <a:schemeClr val="tx1"/>
                </a:solidFill>
              </a:defRPr>
            </a:lvl5pPr>
            <a:lvl6pPr>
              <a:lnSpc>
                <a:spcPct val="100000"/>
              </a:lnSpc>
              <a:defRPr sz="1200">
                <a:solidFill>
                  <a:schemeClr val="tx1"/>
                </a:solidFill>
              </a:defRPr>
            </a:lvl6pPr>
            <a:lvl7pPr>
              <a:lnSpc>
                <a:spcPct val="100000"/>
              </a:lnSpc>
              <a:defRPr sz="1100">
                <a:solidFill>
                  <a:schemeClr val="tx1"/>
                </a:solidFill>
              </a:defRPr>
            </a:lvl7pPr>
            <a:lvl8pPr>
              <a:lnSpc>
                <a:spcPct val="100000"/>
              </a:lnSpc>
              <a:defRPr sz="1000">
                <a:solidFill>
                  <a:schemeClr val="tx1"/>
                </a:solidFill>
              </a:defRPr>
            </a:lvl8pPr>
            <a:lvl9pPr>
              <a:lnSpc>
                <a:spcPct val="100000"/>
              </a:lnSpc>
              <a:defRPr sz="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noProof="0" dirty="0"/>
              <a:t>01</a:t>
            </a:r>
          </a:p>
          <a:p>
            <a:pPr lvl="1"/>
            <a:r>
              <a:rPr lang="de-DE" noProof="0" dirty="0"/>
              <a:t>02</a:t>
            </a:r>
          </a:p>
          <a:p>
            <a:pPr lvl="2"/>
            <a:r>
              <a:rPr lang="de-DE" noProof="0" dirty="0"/>
              <a:t>03</a:t>
            </a:r>
          </a:p>
          <a:p>
            <a:pPr lvl="3"/>
            <a:r>
              <a:rPr lang="de-DE" noProof="0" dirty="0"/>
              <a:t>04</a:t>
            </a:r>
          </a:p>
          <a:p>
            <a:pPr lvl="4"/>
            <a:r>
              <a:rPr lang="de-DE" noProof="0" dirty="0"/>
              <a:t>05</a:t>
            </a:r>
          </a:p>
          <a:p>
            <a:pPr lvl="5"/>
            <a:r>
              <a:rPr lang="de-DE" noProof="0" dirty="0"/>
              <a:t>06</a:t>
            </a:r>
          </a:p>
          <a:p>
            <a:pPr lvl="6"/>
            <a:r>
              <a:rPr lang="de-DE" noProof="0" dirty="0"/>
              <a:t>07</a:t>
            </a:r>
          </a:p>
          <a:p>
            <a:pPr lvl="7"/>
            <a:r>
              <a:rPr lang="de-DE" noProof="0" dirty="0"/>
              <a:t>08</a:t>
            </a:r>
          </a:p>
          <a:p>
            <a:pPr lvl="8"/>
            <a:r>
              <a:rPr lang="de-DE" noProof="0" dirty="0"/>
              <a:t>09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CEBBA8-959C-487B-A029-40024E9FFD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9A60C9-EA95-4404-BF1D-0A40848CED4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C9E7229-3084-4FAC-B7A1-3D5E9E5DAD7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67322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F1F9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8068" y="1522062"/>
            <a:ext cx="3561225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1522062"/>
            <a:ext cx="3560864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059" y="1522062"/>
            <a:ext cx="3560864" cy="4570618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0A13352-A4CC-48DE-8FEA-EE57510BDC8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A08DA2D-3789-429B-BB42-7D4AFDBE11D5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55BEA2-AF5B-44C0-A611-5FF4725477A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815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er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171" y="4580112"/>
            <a:ext cx="3560864" cy="151256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2" name="Inhaltsplatzhalter 13" descr="Spalte links" title="Spalte links"/>
          <p:cNvSpPr>
            <a:spLocks noGrp="1"/>
          </p:cNvSpPr>
          <p:nvPr>
            <p:ph sz="quarter" idx="19" hasCustomPrompt="1"/>
          </p:nvPr>
        </p:nvSpPr>
        <p:spPr>
          <a:xfrm>
            <a:off x="507666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3" name="Inhaltsplatzhalter 15" descr="Spalte mitte" title="Spalte mitte"/>
          <p:cNvSpPr>
            <a:spLocks noGrp="1"/>
          </p:cNvSpPr>
          <p:nvPr>
            <p:ph sz="quarter" idx="20" hasCustomPrompt="1"/>
          </p:nvPr>
        </p:nvSpPr>
        <p:spPr>
          <a:xfrm>
            <a:off x="4320562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1" hasCustomPrompt="1"/>
          </p:nvPr>
        </p:nvSpPr>
        <p:spPr>
          <a:xfrm>
            <a:off x="8137171" y="1522061"/>
            <a:ext cx="3560864" cy="279792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44F2D62-DFCB-482D-B44D-5D750A27906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12F4DE5-9FE5-4A5A-B3B8-C90453BD035B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9365888-0CF7-495A-B9E7-F25CBE16795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34415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5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4320562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8137171" y="4088121"/>
            <a:ext cx="3560864" cy="1788584"/>
          </a:xfrm>
          <a:prstGeom prst="rect">
            <a:avLst/>
          </a:prstGeom>
        </p:spPr>
        <p:txBody>
          <a:bodyPr rIns="479988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5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4320562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8137171" y="1539659"/>
            <a:ext cx="3560864" cy="2046817"/>
          </a:xfrm>
          <a:prstGeom prst="rect">
            <a:avLst/>
          </a:prstGeom>
        </p:spPr>
        <p:txBody>
          <a:bodyPr anchor="ctr"/>
          <a:lstStyle>
            <a:lvl1pPr algn="ctr">
              <a:defRPr sz="13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F9F5823-B127-4948-AF8D-69E6CD4C2D4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9BB7EE-EDF5-4763-9AA7-42C6F14B7CA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0223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3829889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431" y="1522061"/>
            <a:ext cx="2545531" cy="206251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2" y="3829889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6" y="1522061"/>
            <a:ext cx="2545531" cy="180617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431" y="3830252"/>
            <a:ext cx="2545531" cy="1788584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2" y="1522061"/>
            <a:ext cx="2545531" cy="1806178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158" y="1522061"/>
            <a:ext cx="2545531" cy="2062515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158" y="3830252"/>
            <a:ext cx="2545531" cy="1788584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AB75215-2D2A-45A7-9CD3-EA92508CDAB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D9CA402-3AFB-40C9-9714-0C8CB7AA12CC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417063E-2641-4B2E-95AB-B2BE661713ED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27765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zeilig Bild und Inhalt 4-spaltig Typ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23"/>
          <p:cNvSpPr>
            <a:spLocks noGrp="1"/>
          </p:cNvSpPr>
          <p:nvPr>
            <p:ph type="body" sz="quarter" idx="19" hasCustomPrompt="1"/>
          </p:nvPr>
        </p:nvSpPr>
        <p:spPr>
          <a:xfrm>
            <a:off x="1" y="1"/>
            <a:ext cx="10141305" cy="664478"/>
          </a:xfrm>
          <a:solidFill>
            <a:srgbClr val="C1EB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de-DE" sz="106" dirty="0" smtClean="0"/>
            </a:lvl1pPr>
          </a:lstStyle>
          <a:p>
            <a:pPr lvl="0" algn="ctr"/>
            <a:r>
              <a:rPr lang="de-DE" noProof="0" dirty="0"/>
              <a:t>Textmasterformat bearbeiten</a:t>
            </a:r>
          </a:p>
        </p:txBody>
      </p:sp>
      <p:sp>
        <p:nvSpPr>
          <p:cNvPr id="14" name="Inhaltsplatzhalter 13" descr="Spalte links" title="Spalte links"/>
          <p:cNvSpPr>
            <a:spLocks noGrp="1"/>
          </p:cNvSpPr>
          <p:nvPr>
            <p:ph sz="quarter" idx="13" hasCustomPrompt="1"/>
          </p:nvPr>
        </p:nvSpPr>
        <p:spPr>
          <a:xfrm>
            <a:off x="507666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6" name="Inhaltsplatzhalter 15" descr="Spalte mitte" title="Spalte mitte"/>
          <p:cNvSpPr>
            <a:spLocks noGrp="1"/>
          </p:cNvSpPr>
          <p:nvPr>
            <p:ph sz="quarter" idx="14" hasCustomPrompt="1"/>
          </p:nvPr>
        </p:nvSpPr>
        <p:spPr>
          <a:xfrm>
            <a:off x="3312431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8" name="Inhaltsplatzhalter 17" descr="Spalte rechts" title="Spalte rechts"/>
          <p:cNvSpPr>
            <a:spLocks noGrp="1"/>
          </p:cNvSpPr>
          <p:nvPr>
            <p:ph sz="quarter" idx="15" hasCustomPrompt="1"/>
          </p:nvPr>
        </p:nvSpPr>
        <p:spPr>
          <a:xfrm>
            <a:off x="6086403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2" hasCustomPrompt="1"/>
          </p:nvPr>
        </p:nvSpPr>
        <p:spPr>
          <a:xfrm>
            <a:off x="507666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23" hasCustomPrompt="1"/>
          </p:nvPr>
        </p:nvSpPr>
        <p:spPr>
          <a:xfrm>
            <a:off x="3312431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24" hasCustomPrompt="1"/>
          </p:nvPr>
        </p:nvSpPr>
        <p:spPr>
          <a:xfrm>
            <a:off x="6086403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15" name="Inhaltsplatzhalter 17" descr="Spalte rechts" title="Spalte rechts"/>
          <p:cNvSpPr>
            <a:spLocks noGrp="1"/>
          </p:cNvSpPr>
          <p:nvPr>
            <p:ph sz="quarter" idx="25" hasCustomPrompt="1"/>
          </p:nvPr>
        </p:nvSpPr>
        <p:spPr>
          <a:xfrm>
            <a:off x="8893158" y="3829516"/>
            <a:ext cx="2545531" cy="2046817"/>
          </a:xfrm>
          <a:prstGeom prst="rect">
            <a:avLst/>
          </a:prstGeom>
        </p:spPr>
        <p:txBody>
          <a:bodyPr rIns="0"/>
          <a:lstStyle>
            <a:lvl1pPr>
              <a:lnSpc>
                <a:spcPts val="1920"/>
              </a:lnSpc>
              <a:spcBef>
                <a:spcPts val="267"/>
              </a:spcBef>
              <a:spcAft>
                <a:spcPts val="0"/>
              </a:spcAft>
              <a:defRPr lang="en-GB" sz="1600" b="0" kern="1200" cap="none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>
                <a:solidFill>
                  <a:schemeClr val="tx1"/>
                </a:solidFill>
              </a:defRPr>
            </a:lvl6pPr>
            <a:lvl7pPr>
              <a:defRPr sz="1100">
                <a:solidFill>
                  <a:schemeClr val="tx1"/>
                </a:solidFill>
              </a:defRPr>
            </a:lvl7pPr>
            <a:lvl8pPr>
              <a:defRPr sz="1050">
                <a:solidFill>
                  <a:schemeClr val="tx1"/>
                </a:solidFill>
              </a:defRPr>
            </a:lvl8pPr>
            <a:lvl9pPr>
              <a:defRPr sz="700">
                <a:solidFill>
                  <a:schemeClr val="tx1"/>
                </a:solidFill>
              </a:defRPr>
            </a:lvl9pPr>
          </a:lstStyle>
          <a:p>
            <a:pPr marL="0" marR="0" lvl="0" indent="0" algn="l" defTabSz="1218897" rtl="0" eaLnBrk="1" fontAlgn="auto" latinLnBrk="0" hangingPunct="1">
              <a:lnSpc>
                <a:spcPct val="100000"/>
              </a:lnSpc>
              <a:spcBef>
                <a:spcPts val="267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de-DE" noProof="0" dirty="0"/>
              <a:t>1</a:t>
            </a:r>
          </a:p>
          <a:p>
            <a:pPr lvl="1"/>
            <a:r>
              <a:rPr lang="de-DE" noProof="0" dirty="0"/>
              <a:t>2</a:t>
            </a:r>
          </a:p>
          <a:p>
            <a:pPr lvl="2"/>
            <a:r>
              <a:rPr lang="de-DE" noProof="0" dirty="0"/>
              <a:t>3</a:t>
            </a:r>
          </a:p>
          <a:p>
            <a:pPr lvl="3"/>
            <a:r>
              <a:rPr lang="de-DE" noProof="0" dirty="0"/>
              <a:t>4</a:t>
            </a:r>
          </a:p>
          <a:p>
            <a:pPr lvl="4"/>
            <a:r>
              <a:rPr lang="de-DE" noProof="0" dirty="0"/>
              <a:t>5</a:t>
            </a:r>
          </a:p>
          <a:p>
            <a:pPr lvl="5"/>
            <a:r>
              <a:rPr lang="de-DE" noProof="0" dirty="0"/>
              <a:t>6</a:t>
            </a:r>
          </a:p>
          <a:p>
            <a:pPr lvl="6"/>
            <a:r>
              <a:rPr lang="de-DE" noProof="0" dirty="0"/>
              <a:t>7</a:t>
            </a:r>
          </a:p>
          <a:p>
            <a:pPr lvl="7"/>
            <a:r>
              <a:rPr lang="de-DE" noProof="0" dirty="0"/>
              <a:t>8</a:t>
            </a:r>
          </a:p>
          <a:p>
            <a:pPr lvl="8"/>
            <a:r>
              <a:rPr lang="de-DE" noProof="0" dirty="0"/>
              <a:t>9</a:t>
            </a:r>
          </a:p>
        </p:txBody>
      </p:sp>
      <p:sp>
        <p:nvSpPr>
          <p:cNvPr id="17" name="Bildplatzhalter 10"/>
          <p:cNvSpPr>
            <a:spLocks noGrp="1"/>
          </p:cNvSpPr>
          <p:nvPr>
            <p:ph type="pic" sz="quarter" idx="26" hasCustomPrompt="1"/>
          </p:nvPr>
        </p:nvSpPr>
        <p:spPr>
          <a:xfrm>
            <a:off x="8893158" y="1522062"/>
            <a:ext cx="2545531" cy="1806966"/>
          </a:xfrm>
          <a:prstGeom prst="rect">
            <a:avLst/>
          </a:prstGeom>
        </p:spPr>
        <p:txBody>
          <a:bodyPr anchor="ctr"/>
          <a:lstStyle>
            <a:lvl1pPr algn="ctr">
              <a:defRPr sz="1200"/>
            </a:lvl1pPr>
          </a:lstStyle>
          <a:p>
            <a:r>
              <a:rPr lang="de-DE" noProof="0" dirty="0"/>
              <a:t>Neues Bild hochlad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08066" y="260292"/>
            <a:ext cx="5422224" cy="155539"/>
          </a:xfrm>
        </p:spPr>
        <p:txBody>
          <a:bodyPr/>
          <a:lstStyle>
            <a:lvl1pPr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noProof="0" dirty="0"/>
              <a:t>Optionale Zeile zur Anzeige des Kapitel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A7D67608-485D-4A52-8CAA-3469C4BC748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B2157A-2FF5-4B62-A612-A71156566509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F67C3D7-EE96-4B6A-840F-56035E6FBE1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33539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E:\JOBS\19_DMCGROUP\PP_AKTUELL_2014\RES\16zu9_Grid_PNG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1749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er Weiß Schrift groß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8C80421-16E7-4274-B74E-41B72C3BD0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390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4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D4BF3A5-0D07-42B9-83A0-4BB19773B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344D3D-750E-4AA5-BD45-F6CFA3D07F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228590" y="1152000"/>
            <a:ext cx="12801058" cy="2666928"/>
          </a:xfrm>
        </p:spPr>
        <p:txBody>
          <a:bodyPr vert="horz" rIns="216000" anchor="b" anchorCtr="0"/>
          <a:lstStyle>
            <a:lvl1pPr algn="r" rtl="0">
              <a:lnSpc>
                <a:spcPct val="80000"/>
              </a:lnSpc>
              <a:defRPr sz="20002"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9F4A5A7B-32F1-4538-86EC-D0B2317455D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-228590" y="3420000"/>
            <a:ext cx="12801058" cy="3581884"/>
          </a:xfrm>
        </p:spPr>
        <p:txBody>
          <a:bodyPr rIns="216000"/>
          <a:lstStyle>
            <a:lvl1pPr marL="0" indent="0" algn="l" rtl="0">
              <a:lnSpc>
                <a:spcPct val="80000"/>
              </a:lnSpc>
              <a:buNone/>
              <a:defRPr sz="20002">
                <a:solidFill>
                  <a:srgbClr val="13A0D3"/>
                </a:solidFill>
                <a:latin typeface="+mj-lt"/>
              </a:defRPr>
            </a:lvl1pPr>
            <a:lvl2pPr marL="483855" indent="0" algn="ctr">
              <a:buNone/>
              <a:defRPr sz="2117"/>
            </a:lvl2pPr>
            <a:lvl3pPr marL="967710" indent="0" algn="ctr">
              <a:buNone/>
              <a:defRPr sz="1905"/>
            </a:lvl3pPr>
            <a:lvl4pPr marL="1451564" indent="0" algn="ctr">
              <a:buNone/>
              <a:defRPr sz="1693"/>
            </a:lvl4pPr>
            <a:lvl5pPr marL="1935419" indent="0" algn="ctr">
              <a:buNone/>
              <a:defRPr sz="1693"/>
            </a:lvl5pPr>
            <a:lvl6pPr marL="2419274" indent="0" algn="ctr">
              <a:buNone/>
              <a:defRPr sz="1693"/>
            </a:lvl6pPr>
            <a:lvl7pPr marL="2903129" indent="0" algn="ctr">
              <a:buNone/>
              <a:defRPr sz="1693"/>
            </a:lvl7pPr>
            <a:lvl8pPr marL="3386983" indent="0" algn="ctr">
              <a:buNone/>
              <a:defRPr sz="1693"/>
            </a:lvl8pPr>
            <a:lvl9pPr marL="3870838" indent="0" algn="ctr">
              <a:buNone/>
              <a:defRPr sz="1693"/>
            </a:lvl9pPr>
          </a:lstStyle>
          <a:p>
            <a:r>
              <a:rPr lang="de-DE" noProof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147462917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irmenOnline | Sponsoren Board | 29.03.202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42659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 Typo">
  <p:cSld name="Small Typo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26" descr="Spalte links" title="Spalte links"/>
          <p:cNvSpPr txBox="1">
            <a:spLocks noGrp="1"/>
          </p:cNvSpPr>
          <p:nvPr>
            <p:ph type="body" idx="1"/>
          </p:nvPr>
        </p:nvSpPr>
        <p:spPr>
          <a:xfrm>
            <a:off x="606899" y="1272882"/>
            <a:ext cx="11089739" cy="50961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6960" lvl="0" indent="-228480" algn="l">
              <a:lnSpc>
                <a:spcPct val="137142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 b="0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3921" lvl="1" indent="-317334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 sz="1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0882" lvl="2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3pPr>
            <a:lvl4pPr marL="1827842" lvl="3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>
                <a:solidFill>
                  <a:schemeClr val="dk1"/>
                </a:solidFill>
              </a:defRPr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solidFill>
                  <a:schemeClr val="dk1"/>
                </a:solidFill>
              </a:defRPr>
            </a:lvl5pPr>
            <a:lvl6pPr marL="2741763" lvl="5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>
                <a:solidFill>
                  <a:schemeClr val="dk1"/>
                </a:solidFill>
              </a:defRPr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100"/>
              <a:buNone/>
              <a:defRPr sz="1100">
                <a:solidFill>
                  <a:schemeClr val="dk1"/>
                </a:solidFill>
              </a:defRPr>
            </a:lvl8pPr>
            <a:lvl9pPr marL="4112645" lvl="8" indent="-26656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600"/>
              <a:buAutoNum type="arabicParenR"/>
              <a:defRPr sz="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26"/>
          <p:cNvSpPr txBox="1">
            <a:spLocks noGrp="1"/>
          </p:cNvSpPr>
          <p:nvPr>
            <p:ph type="body" idx="2"/>
          </p:nvPr>
        </p:nvSpPr>
        <p:spPr>
          <a:xfrm>
            <a:off x="5" y="1"/>
            <a:ext cx="8650817" cy="768173"/>
          </a:xfrm>
          <a:prstGeom prst="rect">
            <a:avLst/>
          </a:prstGeom>
          <a:solidFill>
            <a:srgbClr val="F1F9FA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6960" lvl="0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"/>
              <a:buNone/>
              <a:defRPr sz="106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3921" lvl="1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0882" lvl="2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7842" lvl="3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800"/>
              <a:buAutoNum type="arabicPeriod"/>
              <a:defRPr/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5pPr>
            <a:lvl6pPr marL="2741763" lvl="5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2645" lvl="8" indent="-3427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1" name="Google Shape;41;p26"/>
          <p:cNvSpPr txBox="1">
            <a:spLocks noGrp="1"/>
          </p:cNvSpPr>
          <p:nvPr>
            <p:ph type="title"/>
          </p:nvPr>
        </p:nvSpPr>
        <p:spPr>
          <a:xfrm>
            <a:off x="606899" y="515818"/>
            <a:ext cx="10575456" cy="5142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35975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3781"/>
              </a:buClr>
              <a:buSzPts val="3000"/>
              <a:buFont typeface="Arial"/>
              <a:buNone/>
              <a:defRPr sz="2998">
                <a:solidFill>
                  <a:srgbClr val="00378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6"/>
          <p:cNvSpPr txBox="1">
            <a:spLocks noGrp="1"/>
          </p:cNvSpPr>
          <p:nvPr>
            <p:ph type="ftr" idx="11"/>
          </p:nvPr>
        </p:nvSpPr>
        <p:spPr>
          <a:xfrm>
            <a:off x="606898" y="6367576"/>
            <a:ext cx="5607845" cy="125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de-DE"/>
              <a:t>FirmenOnline | Sponsoren Board | 29.03.2021</a:t>
            </a:r>
            <a:endParaRPr/>
          </a:p>
        </p:txBody>
      </p:sp>
      <p:sp>
        <p:nvSpPr>
          <p:cNvPr id="43" name="Google Shape;43;p26"/>
          <p:cNvSpPr txBox="1">
            <a:spLocks noGrp="1"/>
          </p:cNvSpPr>
          <p:nvPr>
            <p:ph type="body" idx="3"/>
          </p:nvPr>
        </p:nvSpPr>
        <p:spPr>
          <a:xfrm>
            <a:off x="606900" y="201311"/>
            <a:ext cx="5580789" cy="155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6960" lvl="0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>
                <a:latin typeface="Arial"/>
                <a:ea typeface="Arial"/>
                <a:cs typeface="Arial"/>
                <a:sym typeface="Arial"/>
              </a:defRPr>
            </a:lvl1pPr>
            <a:lvl2pPr marL="913921" lvl="1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0882" lvl="2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Char char="−"/>
              <a:defRPr sz="1200"/>
            </a:lvl3pPr>
            <a:lvl4pPr marL="1827842" lvl="3" indent="-304641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SzPts val="1200"/>
              <a:buAutoNum type="arabicPeriod"/>
              <a:defRPr sz="1200"/>
            </a:lvl4pPr>
            <a:lvl5pPr marL="2284802" lvl="4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marL="2741763" lvl="5" indent="-34272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6pPr>
            <a:lvl7pPr marL="3198723" lvl="6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5683" lvl="7" indent="-22848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2645" lvl="8" indent="-342720" algn="l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dk1"/>
              </a:buClr>
              <a:buSzPts val="1800"/>
              <a:buAutoNum type="arabicParenR"/>
              <a:defRPr/>
            </a:lvl9pPr>
          </a:lstStyle>
          <a:p>
            <a:endParaRPr/>
          </a:p>
        </p:txBody>
      </p:sp>
      <p:sp>
        <p:nvSpPr>
          <p:cNvPr id="44" name="Google Shape;44;p26"/>
          <p:cNvSpPr txBox="1">
            <a:spLocks noGrp="1"/>
          </p:cNvSpPr>
          <p:nvPr>
            <p:ph type="dt" idx="10"/>
          </p:nvPr>
        </p:nvSpPr>
        <p:spPr>
          <a:xfrm>
            <a:off x="606897" y="6492900"/>
            <a:ext cx="1307024" cy="1230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399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5" name="Google Shape;45;p26"/>
          <p:cNvSpPr/>
          <p:nvPr/>
        </p:nvSpPr>
        <p:spPr>
          <a:xfrm>
            <a:off x="11387786" y="260649"/>
            <a:ext cx="308914" cy="309907"/>
          </a:xfrm>
          <a:custGeom>
            <a:avLst/>
            <a:gdLst/>
            <a:ahLst/>
            <a:cxnLst/>
            <a:rect l="l" t="t" r="r" b="b"/>
            <a:pathLst>
              <a:path w="396" h="397" extrusionOk="0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spcFirstLastPara="1" wrap="square" lIns="121776" tIns="60863" rIns="121776" bIns="6086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399" b="0" i="0" u="none" strike="noStrike" cap="none">
              <a:solidFill>
                <a:srgbClr val="00378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" name="Google Shape;46;p26"/>
          <p:cNvSpPr txBox="1">
            <a:spLocks noGrp="1"/>
          </p:cNvSpPr>
          <p:nvPr>
            <p:ph type="sldNum" idx="12"/>
          </p:nvPr>
        </p:nvSpPr>
        <p:spPr>
          <a:xfrm>
            <a:off x="11182356" y="6492446"/>
            <a:ext cx="514348" cy="365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221609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7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6" y="1376364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3502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6A92110-7759-4818-B8AB-E43CF4F0B5E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F63EA58-623B-4C98-B0B3-106149A9567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84ABCF1-F66C-42C3-892B-72AE24E22DF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98247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- N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6FDAA8-8B2C-4943-A92E-AA894087B9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89296"/>
            <a:ext cx="9324974" cy="88706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44BE1ED-5593-43E7-90D4-F1D53BC3E9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1376363"/>
            <a:ext cx="11233151" cy="478948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28A5C0F-76A3-4DA0-9F81-A12F1964DA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C13493-086D-4789-9703-1D3FC713785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098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BEE051C-6EF3-470E-8A6F-3ACCAEC2B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4F1D8F2-5ECC-4655-A1DA-16D1D9E296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3950" y="1808163"/>
            <a:ext cx="5508625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04BDB62-A86B-4312-84AC-605A043A529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D2575-F934-4AA7-8FDB-F583B1E8E3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A1C0ECB-E7FD-4CFC-BB65-99367A5A0F3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934586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808163"/>
            <a:ext cx="3600451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1808163"/>
            <a:ext cx="3600449" cy="43576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D43DDA6-9E28-4292-8A58-91764D9BF32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3972539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6D3917-AE3D-4FCF-A7A1-1898AD291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F5DC0C1-41FA-4470-BBAC-3017E7C9FBE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AE807FE-5BC5-4806-B587-BCDD6C4B17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89B1D163-4D8D-4A72-A40F-8C4E4706607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4185851"/>
            <a:ext cx="3600451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DE0FC12B-A1E5-42CC-96D8-0293C92008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77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6A50DEAB-0BFD-4146-B54A-21CD06E1B0F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112126" y="4185851"/>
            <a:ext cx="3600449" cy="1980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7F6E1E7D-62F9-4031-8EDE-4D54A0DCE14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9425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92E55E2-AF52-4C0E-A959-DF683F5CEFE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29577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34A88299-44D9-4594-9216-B685B545498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12126" y="1808163"/>
            <a:ext cx="3600450" cy="198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C551487E-C11A-4467-98A1-8C3C5A14A9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4005217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8928000" cy="6084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252000" y="1332000"/>
            <a:ext cx="2460575" cy="4752000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626A08E-050C-4C68-BDE6-F1BB5A27A38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7675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9729243C-D78B-4B34-B6EA-A7A7D5BA441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056000" cy="5940000"/>
          </a:xfrm>
          <a:solidFill>
            <a:schemeClr val="tx2">
              <a:lumMod val="90000"/>
            </a:schemeClr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D2F612BB-6DB3-48F4-9220-749BDAAD5D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32000" y="1808163"/>
            <a:ext cx="4080575" cy="4131838"/>
          </a:xfrm>
        </p:spPr>
        <p:txBody>
          <a:bodyPr/>
          <a:lstStyle>
            <a:lvl1pPr>
              <a:lnSpc>
                <a:spcPts val="3800"/>
              </a:lnSpc>
              <a:spcAft>
                <a:spcPts val="2400"/>
              </a:spcAft>
              <a:defRPr sz="3800" b="0"/>
            </a:lvl1pPr>
            <a:lvl2pPr marL="0" indent="0">
              <a:buNone/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589E36F-7715-457D-8887-3CAB56AFC0A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073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Blau mit Bild"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26096B3-72BC-4565-8722-6EC0F8A5D0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30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8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 rtl="0">
              <a:defRPr sz="1600">
                <a:solidFill>
                  <a:schemeClr val="tx1"/>
                </a:solidFill>
              </a:defRPr>
            </a:lvl1pPr>
            <a:lvl2pPr rtl="0">
              <a:defRPr>
                <a:solidFill>
                  <a:schemeClr val="tx1"/>
                </a:solidFill>
              </a:defRPr>
            </a:lvl2pPr>
            <a:lvl3pPr rtl="0">
              <a:defRPr>
                <a:solidFill>
                  <a:schemeClr val="tx1"/>
                </a:solidFill>
              </a:defRPr>
            </a:lvl3pPr>
            <a:lvl4pPr rtl="0">
              <a:defRPr>
                <a:solidFill>
                  <a:schemeClr val="tx1"/>
                </a:solidFill>
              </a:defRPr>
            </a:lvl4pPr>
            <a:lvl5pPr rtl="0">
              <a:defRPr>
                <a:solidFill>
                  <a:schemeClr val="tx1"/>
                </a:solidFill>
              </a:defRPr>
            </a:lvl5pPr>
            <a:lvl6pPr rtl="0">
              <a:defRPr>
                <a:solidFill>
                  <a:schemeClr val="tx1"/>
                </a:solidFill>
              </a:defRPr>
            </a:lvl6pPr>
            <a:lvl7pPr rtl="0">
              <a:defRPr/>
            </a:lvl7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de-DE" noProof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06304654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image + headlin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5775" y="-1"/>
            <a:ext cx="7896225" cy="4968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2563200"/>
            <a:ext cx="3600449" cy="2404799"/>
          </a:xfrm>
        </p:spPr>
        <p:txBody>
          <a:bodyPr anchor="b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EB6A8EB-A666-4A27-9824-30E6CEF93D5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E0780CC6-0AAA-43D9-B97A-2EF6ED7D8C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31345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+ headlin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0" y="1008001"/>
            <a:ext cx="6203950" cy="5850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3600451" cy="14398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3168000"/>
            <a:ext cx="3600449" cy="2997850"/>
          </a:xfrm>
        </p:spPr>
        <p:txBody>
          <a:bodyPr anchor="t" anchorCtr="0"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DB4B0E92-1B2C-41F7-B669-32B6FD5663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3600450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752386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+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6AD9E6D-63E1-41E1-8A4D-9A2F8102A99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3952" y="1044000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1E388C-6A4B-4AA3-B573-6AE8043CAA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A3F8960E-E537-4E49-AC42-4DEBF27F4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4" y="873125"/>
            <a:ext cx="5508626" cy="1439863"/>
          </a:xfrm>
        </p:spPr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B815B3-09D1-4001-B105-D9E1330B1B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6" y="4176000"/>
            <a:ext cx="3816349" cy="1989850"/>
          </a:xfrm>
        </p:spPr>
        <p:txBody>
          <a:bodyPr anchor="t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D691213-0404-49EC-B501-4C4965B4859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3838915D-D3FB-443D-B066-9871FCA0D90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40000" y="1044000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53DA06E5-3D83-444D-925F-F4A41465D64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3952" y="3582001"/>
            <a:ext cx="2088000" cy="2232000"/>
          </a:xfrm>
          <a:solidFill>
            <a:schemeClr val="tx2"/>
          </a:solidFill>
        </p:spPr>
        <p:txBody>
          <a:bodyPr/>
          <a:lstStyle/>
          <a:p>
            <a:endParaRPr lang="de-DE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8A4C057F-21D1-4235-9674-D17DA9EE80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640000" y="3582001"/>
            <a:ext cx="2376000" cy="2232000"/>
          </a:xfrm>
        </p:spPr>
        <p:txBody>
          <a:bodyPr anchor="ctr" anchorCtr="0"/>
          <a:lstStyle>
            <a:lvl1pPr>
              <a:defRPr sz="1600" b="0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9F8AF55-CD46-430D-AC56-3428F98D0C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476250"/>
            <a:ext cx="55086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826753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8112125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772525" y="1808163"/>
            <a:ext cx="2940050" cy="4357687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600EDD0-042C-48C5-946C-9122C18A112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5CB8C84-525E-4B57-BAF4-5CD06402D3A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476250"/>
            <a:ext cx="572452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6341226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on blue/whi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D85B9BCC-ED7D-4926-91D7-795B583CD299}"/>
              </a:ext>
            </a:extLst>
          </p:cNvPr>
          <p:cNvSpPr/>
          <p:nvPr userDrawn="1"/>
        </p:nvSpPr>
        <p:spPr>
          <a:xfrm>
            <a:off x="0" y="0"/>
            <a:ext cx="7020000" cy="6858000"/>
          </a:xfrm>
          <a:prstGeom prst="rect">
            <a:avLst/>
          </a:prstGeom>
          <a:solidFill>
            <a:srgbClr val="13A0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0E423D4-7901-4F8B-B075-3D0E7C20A6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8E2DDD5-62F8-4BB9-A01C-AC7CC80E26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1808162"/>
            <a:ext cx="5724523" cy="4357687"/>
          </a:xfrm>
        </p:spPr>
        <p:txBody>
          <a:bodyPr/>
          <a:lstStyle>
            <a:lvl1pPr>
              <a:lnSpc>
                <a:spcPts val="8500"/>
              </a:lnSpc>
              <a:defRPr sz="8500">
                <a:solidFill>
                  <a:srgbClr val="122B54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5DCC88A-A947-4C0A-827F-38E6245966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60000" y="3024000"/>
            <a:ext cx="4152573" cy="3141849"/>
          </a:xfrm>
        </p:spPr>
        <p:txBody>
          <a:bodyPr/>
          <a:lstStyle>
            <a:lvl1pPr>
              <a:defRPr sz="1600" b="1"/>
            </a:lvl1pPr>
            <a:lvl2pPr marL="0" indent="0">
              <a:buNone/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3A37E33-1BC4-4258-8988-7DB0EC8D5A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00300" y="0"/>
            <a:ext cx="4320000" cy="2340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C631362-B5E9-4A03-8563-BC489D509F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86895624-7DAF-4916-BF2D-DA99D815D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476250"/>
            <a:ext cx="5025082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6508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CBF6088-36A1-4310-BB51-1649635E789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263837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 only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8500"/>
              </a:lnSpc>
              <a:defRPr sz="8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E58946-949A-488B-8C82-A425EDC09E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4" y="476250"/>
            <a:ext cx="9324975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1854692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CCF6E46-F87C-4B64-99C8-86D0AD8F84A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238627-407D-4004-A6C9-31955AAD8E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53865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FB93F98-2502-4A46-903A-C90B11A87B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0" y="-152396"/>
            <a:ext cx="1104853" cy="937345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8864DFD-E38D-49D7-BB64-174EB574BF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E68A33C7-022A-46B7-AC45-09A692D08C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95610" y="1808162"/>
            <a:ext cx="7400615" cy="4357687"/>
          </a:xfrm>
        </p:spPr>
        <p:txBody>
          <a:bodyPr/>
          <a:lstStyle>
            <a:lvl1pPr>
              <a:lnSpc>
                <a:spcPts val="3800"/>
              </a:lnSpc>
              <a:spcAft>
                <a:spcPts val="3000"/>
              </a:spcAft>
              <a:defRPr sz="3800"/>
            </a:lvl1pPr>
            <a:lvl2pPr marL="0" indent="0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20E780E-8236-45DA-A6AF-143D4C7283C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2687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blea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43F4184-F695-473F-B37A-0DA4B8E546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"/>
            <a:ext cx="12192000" cy="6858000"/>
          </a:xfrm>
          <a:solidFill>
            <a:schemeClr val="tx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6BD1BC4-FEF0-4830-B116-C4AAB3BFE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0000" y="3024000"/>
            <a:ext cx="5232125" cy="2248991"/>
          </a:xfrm>
        </p:spPr>
        <p:txBody>
          <a:bodyPr/>
          <a:lstStyle>
            <a:lvl1pPr>
              <a:lnSpc>
                <a:spcPts val="3800"/>
              </a:lnSpc>
              <a:defRPr sz="3800">
                <a:solidFill>
                  <a:schemeClr val="tx1"/>
                </a:solidFill>
              </a:defRPr>
            </a:lvl1pPr>
            <a:lvl2pPr marL="0" indent="0" algn="r">
              <a:lnSpc>
                <a:spcPts val="3800"/>
              </a:lnSpc>
              <a:buNone/>
              <a:defRPr sz="3800">
                <a:solidFill>
                  <a:srgbClr val="13A0D3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1AAF74-D43E-4774-9DEC-557D0F40A22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7F2B9096-2D8C-433C-8C26-F6A72A4C02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5646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Weiß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2CA5208-C4BF-4DF1-B65E-0606C5C522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126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DBAB04-1D2E-4D8E-B3D2-20C3A531B51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219988-30BF-4574-85B3-793CCEE2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476250"/>
            <a:ext cx="3600448" cy="1080000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69759C4-BC62-4FF7-9444-30229490F1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3600000"/>
            <a:ext cx="3816350" cy="1947863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CE71AF72-2FFB-40A2-ADC6-9889A3507C4C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48001" y="0"/>
            <a:ext cx="7044000" cy="4968000"/>
          </a:xfrm>
          <a:solidFill>
            <a:schemeClr val="tx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6" name="Bildplatzhalter 9">
            <a:extLst>
              <a:ext uri="{FF2B5EF4-FFF2-40B4-BE49-F238E27FC236}">
                <a16:creationId xmlns:a16="http://schemas.microsoft.com/office/drawing/2014/main" id="{783CECED-A8D5-4BD6-A656-0D10C41795B8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0692000" y="504000"/>
            <a:ext cx="1018800" cy="252000"/>
          </a:xfrm>
          <a:blipFill>
            <a:blip r:embed="rId6">
              <a:extLs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8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69990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E0FA48-9F47-4B37-94C3-D2CE80E96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12C489F-F019-4419-9172-668E44FC8C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5F45E11-429A-423F-97E9-1B1309F4DB3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1DF75E5-F9FE-4B14-8C90-B1BF90164CF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524691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0E809D7-298E-4784-9AE3-F5FC40D204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7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Bildplatzhalter 3">
            <a:extLst>
              <a:ext uri="{FF2B5EF4-FFF2-40B4-BE49-F238E27FC236}">
                <a16:creationId xmlns:a16="http://schemas.microsoft.com/office/drawing/2014/main" id="{B7EEF68F-5357-4EC1-854D-F85E9950B8D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434104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F40182DB-D138-4445-9088-170FAB7AB943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8157390" y="1836000"/>
            <a:ext cx="1872000" cy="1872000"/>
          </a:xfrm>
          <a:prstGeom prst="ellipse">
            <a:avLst/>
          </a:prstGeom>
          <a:solidFill>
            <a:schemeClr val="tx2">
              <a:lumMod val="90000"/>
            </a:schemeClr>
          </a:solidFill>
          <a:ln w="127000">
            <a:solidFill>
              <a:schemeClr val="bg1"/>
            </a:solidFill>
          </a:ln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4FD059CA-F54D-436B-83BF-7C80E05A47B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9577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F0C00D3-5C3B-4DEC-B521-74B05D0D818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12125" y="3983525"/>
            <a:ext cx="3600450" cy="2182325"/>
          </a:xfrm>
        </p:spPr>
        <p:txBody>
          <a:bodyPr/>
          <a:lstStyle>
            <a:lvl1pPr>
              <a:spcAft>
                <a:spcPts val="600"/>
              </a:spcAft>
              <a:defRPr sz="1600" b="1"/>
            </a:lvl1pPr>
            <a:lvl2pPr marL="0" indent="0">
              <a:buNone/>
              <a:tabLst>
                <a:tab pos="288000" algn="l"/>
              </a:tabLst>
              <a:defRPr sz="1600"/>
            </a:lvl2pPr>
            <a:lvl3pPr marL="180000" indent="-180000">
              <a:buFontTx/>
              <a:buBlip>
                <a:blip r:embed="rId2"/>
              </a:buBlip>
              <a:defRPr sz="1600"/>
            </a:lvl3pPr>
            <a:lvl4pPr marL="180000" indent="-180000">
              <a:buFontTx/>
              <a:buBlip>
                <a:blip r:embed="rId3"/>
              </a:buBlip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7955563-D116-42F8-9493-607FD96D81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4" y="476250"/>
            <a:ext cx="9324973" cy="252000"/>
          </a:xfrm>
        </p:spPr>
        <p:txBody>
          <a:bodyPr/>
          <a:lstStyle>
            <a:lvl1pPr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Topline goes here</a:t>
            </a:r>
          </a:p>
        </p:txBody>
      </p:sp>
    </p:spTree>
    <p:extLst>
      <p:ext uri="{BB962C8B-B14F-4D97-AF65-F5344CB8AC3E}">
        <p14:creationId xmlns:p14="http://schemas.microsoft.com/office/powerpoint/2010/main" val="2353859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sv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8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3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image" Target="../media/image3.svg"/><Relationship Id="rId3" Type="http://schemas.openxmlformats.org/officeDocument/2006/relationships/slideLayout" Target="../slideLayouts/slideLayout13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oleObject" Target="../embeddings/oleObject32.bin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ags" Target="../tags/tag33.xml"/><Relationship Id="rId2" Type="http://schemas.openxmlformats.org/officeDocument/2006/relationships/slideLayout" Target="../slideLayouts/slideLayout31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vmlDrawing" Target="../drawings/vmlDrawing32.v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3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9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tags" Target="../tags/tag42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vmlDrawing" Target="../drawings/vmlDrawing41.v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theme" Target="../theme/theme6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image" Target="../media/image12.emf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oleObject" Target="../embeddings/oleObject4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796E5D3-774B-4ED1-9AF8-9772A7C20F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8724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Folie" r:id="rId7" imgW="353" imgH="353" progId="TCLayout.ActiveDocument.1">
                  <p:embed/>
                </p:oleObj>
              </mc:Choice>
              <mc:Fallback>
                <p:oleObj name="think-cell Folie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6497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707" r:id="rId2"/>
    <p:sldLayoutId id="2147483708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4FDA5F-5896-41D8-97B4-5EFF615122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52855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9" name="think-cell Folie" r:id="rId11" imgW="353" imgH="353" progId="TCLayout.ActiveDocument.1">
                  <p:embed/>
                </p:oleObj>
              </mc:Choice>
              <mc:Fallback>
                <p:oleObj name="think-cell Foli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DA2F4508-9777-4819-A665-39ABDE4929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5842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7" r:id="rId1"/>
    <p:sldLayoutId id="2147483734" r:id="rId2"/>
    <p:sldLayoutId id="2147483736" r:id="rId3"/>
    <p:sldLayoutId id="2147483733" r:id="rId4"/>
    <p:sldLayoutId id="2147483735" r:id="rId5"/>
    <p:sldLayoutId id="2147483738" r:id="rId6"/>
    <p:sldLayoutId id="2147483705" r:id="rId7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0873815-8F7E-41ED-BF69-665917D6E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01443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" name="think-cell Folie" r:id="rId23" imgW="353" imgH="353" progId="TCLayout.ActiveDocument.1">
                  <p:embed/>
                </p:oleObj>
              </mc:Choice>
              <mc:Fallback>
                <p:oleObj name="think-cell Folie" r:id="rId2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en-US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 nicht benutz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69A9FCF-4D55-4AF3-8D50-049F0279B78E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950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0" r:id="rId1"/>
    <p:sldLayoutId id="2147483692" r:id="rId2"/>
    <p:sldLayoutId id="2147483652" r:id="rId3"/>
    <p:sldLayoutId id="2147483663" r:id="rId4"/>
    <p:sldLayoutId id="2147483698" r:id="rId5"/>
    <p:sldLayoutId id="2147483655" r:id="rId6"/>
    <p:sldLayoutId id="2147483695" r:id="rId7"/>
    <p:sldLayoutId id="2147483696" r:id="rId8"/>
    <p:sldLayoutId id="2147483697" r:id="rId9"/>
    <p:sldLayoutId id="2147483699" r:id="rId10"/>
    <p:sldLayoutId id="2147483684" r:id="rId11"/>
    <p:sldLayoutId id="2147483694" r:id="rId12"/>
    <p:sldLayoutId id="2147483654" r:id="rId13"/>
    <p:sldLayoutId id="2147483702" r:id="rId14"/>
    <p:sldLayoutId id="2147483687" r:id="rId15"/>
    <p:sldLayoutId id="2147483688" r:id="rId16"/>
    <p:sldLayoutId id="2147483661" r:id="rId17"/>
    <p:sldLayoutId id="2147483704" r:id="rId18"/>
    <p:sldLayoutId id="2147483794" r:id="rId19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4974" userDrawn="1">
          <p15:clr>
            <a:srgbClr val="F26B43"/>
          </p15:clr>
        </p15:guide>
        <p15:guide id="16" pos="5110" userDrawn="1">
          <p15:clr>
            <a:srgbClr val="F26B43"/>
          </p15:clr>
        </p15:guide>
        <p15:guide id="17" pos="6176" userDrawn="1">
          <p15:clr>
            <a:srgbClr val="F26B43"/>
          </p15:clr>
        </p15:guide>
        <p15:guide id="18" pos="6312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2" orient="horz" pos="113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2B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7A01834-C9BF-404E-BC68-D0A0590F4D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1856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7" name="think-cell Folie" r:id="rId13" imgW="353" imgH="353" progId="TCLayout.ActiveDocument.1">
                  <p:embed/>
                </p:oleObj>
              </mc:Choice>
              <mc:Fallback>
                <p:oleObj name="think-cell Folie" r:id="rId1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liennummernplatzhalter 9">
            <a:extLst>
              <a:ext uri="{FF2B5EF4-FFF2-40B4-BE49-F238E27FC236}">
                <a16:creationId xmlns:a16="http://schemas.microsoft.com/office/drawing/2014/main" id="{135B86A6-138A-4A28-AB13-4C24B97CD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lnSpc>
                <a:spcPts val="1000"/>
              </a:lnSpc>
              <a:def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537BF08-75BA-421A-99FE-E0E5618D7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B4F9080-C8C2-406E-9CAD-3E76991ABD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  <a:p>
            <a:pPr lvl="5"/>
            <a:r>
              <a:rPr lang="de-DE" noProof="0"/>
              <a:t>Sechste Ebene</a:t>
            </a:r>
          </a:p>
          <a:p>
            <a:pPr lvl="6"/>
            <a:r>
              <a:rPr lang="de-DE" noProof="0"/>
              <a:t>Siebte Ebene nicht benutz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1AF2E81-26A4-440F-A8A4-A0986FA3C603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692000" y="504000"/>
            <a:ext cx="1017998" cy="252000"/>
          </a:xfrm>
          <a:prstGeom prst="rect">
            <a:avLst/>
          </a:prstGeom>
        </p:spPr>
      </p:pic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D88D4DA1-666E-4D7E-9EEA-96C021035F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defRPr sz="800" b="0" cap="none" spc="0" baseline="0">
                <a:solidFill>
                  <a:schemeClr val="tx1"/>
                </a:solidFill>
              </a:defRPr>
            </a:lvl1pPr>
          </a:lstStyle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59715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93" r:id="rId2"/>
    <p:sldLayoutId id="2147483678" r:id="rId3"/>
    <p:sldLayoutId id="2147483679" r:id="rId4"/>
    <p:sldLayoutId id="2147483703" r:id="rId5"/>
    <p:sldLayoutId id="2147483681" r:id="rId6"/>
    <p:sldLayoutId id="2147483683" r:id="rId7"/>
    <p:sldLayoutId id="2147483671" r:id="rId8"/>
    <p:sldLayoutId id="2147483672" r:id="rId9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pos="7378" userDrawn="1">
          <p15:clr>
            <a:srgbClr val="F26B43"/>
          </p15:clr>
        </p15:guide>
        <p15:guide id="3" orient="horz" pos="300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9" pos="1368" userDrawn="1">
          <p15:clr>
            <a:srgbClr val="F26B43"/>
          </p15:clr>
        </p15:guide>
        <p15:guide id="10" pos="1504" userDrawn="1">
          <p15:clr>
            <a:srgbClr val="F26B43"/>
          </p15:clr>
        </p15:guide>
        <p15:guide id="11" pos="2570" userDrawn="1">
          <p15:clr>
            <a:srgbClr val="F26B43"/>
          </p15:clr>
        </p15:guide>
        <p15:guide id="12" pos="2706" userDrawn="1">
          <p15:clr>
            <a:srgbClr val="F26B43"/>
          </p15:clr>
        </p15:guide>
        <p15:guide id="13" pos="3772" userDrawn="1">
          <p15:clr>
            <a:srgbClr val="F26B43"/>
          </p15:clr>
        </p15:guide>
        <p15:guide id="14" pos="3908" userDrawn="1">
          <p15:clr>
            <a:srgbClr val="F26B43"/>
          </p15:clr>
        </p15:guide>
        <p15:guide id="15" pos="5110" userDrawn="1">
          <p15:clr>
            <a:srgbClr val="F26B43"/>
          </p15:clr>
        </p15:guide>
        <p15:guide id="16" pos="4974" userDrawn="1">
          <p15:clr>
            <a:srgbClr val="F26B43"/>
          </p15:clr>
        </p15:guide>
        <p15:guide id="17" pos="6312" userDrawn="1">
          <p15:clr>
            <a:srgbClr val="F26B43"/>
          </p15:clr>
        </p15:guide>
        <p15:guide id="18" pos="6176" userDrawn="1">
          <p15:clr>
            <a:srgbClr val="F26B43"/>
          </p15:clr>
        </p15:guide>
        <p15:guide id="19" orient="horz" pos="550" userDrawn="1">
          <p15:clr>
            <a:srgbClr val="F26B43"/>
          </p15:clr>
        </p15:guide>
        <p15:guide id="21" orient="horz" pos="113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17A2EDA-7A2A-4BAF-84A5-B711B8383F1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28" y="504000"/>
            <a:ext cx="101654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9028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34"/>
            </p:custDataLst>
          </p:nvPr>
        </p:nvGraphicFramePr>
        <p:xfrm>
          <a:off x="1589" y="1588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4" name="think-cell Folie" r:id="rId35" imgW="592" imgH="591" progId="TCLayout.ActiveDocument.1">
                  <p:embed/>
                </p:oleObj>
              </mc:Choice>
              <mc:Fallback>
                <p:oleObj name="think-cell Folie" r:id="rId35" imgW="592" imgH="59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 descr="Standard-Headline" title="Standard-Headline"/>
          <p:cNvSpPr>
            <a:spLocks noGrp="1"/>
          </p:cNvSpPr>
          <p:nvPr>
            <p:ph type="title"/>
          </p:nvPr>
        </p:nvSpPr>
        <p:spPr>
          <a:xfrm>
            <a:off x="508066" y="261878"/>
            <a:ext cx="9313680" cy="1042746"/>
          </a:xfrm>
          <a:prstGeom prst="rect">
            <a:avLst/>
          </a:prstGeom>
        </p:spPr>
        <p:txBody>
          <a:bodyPr vert="horz" wrap="square" lIns="0" tIns="180000" rIns="0" bIns="0" rtlCol="0" anchor="t">
            <a:noAutofit/>
          </a:bodyPr>
          <a:lstStyle/>
          <a:p>
            <a:r>
              <a:rPr lang="de-DE" noProof="0" dirty="0"/>
              <a:t>Überschrif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991695" y="6492448"/>
            <a:ext cx="532791" cy="36555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r">
              <a:defRPr sz="800" b="0">
                <a:solidFill>
                  <a:schemeClr val="tx1"/>
                </a:solidFill>
              </a:defRPr>
            </a:lvl1pPr>
          </a:lstStyle>
          <a:p>
            <a:fld id="{61201FF1-C63B-412E-ABF0-3D0E918900AC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508066" y="1522062"/>
            <a:ext cx="11182425" cy="4570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01</a:t>
            </a:r>
          </a:p>
          <a:p>
            <a:pPr lvl="1"/>
            <a:r>
              <a:rPr lang="de-DE" dirty="0"/>
              <a:t>02</a:t>
            </a:r>
          </a:p>
          <a:p>
            <a:pPr lvl="2"/>
            <a:r>
              <a:rPr lang="de-DE" dirty="0"/>
              <a:t>03</a:t>
            </a:r>
          </a:p>
          <a:p>
            <a:pPr lvl="3"/>
            <a:r>
              <a:rPr lang="de-DE" dirty="0"/>
              <a:t>04</a:t>
            </a:r>
          </a:p>
          <a:p>
            <a:pPr lvl="4"/>
            <a:r>
              <a:rPr lang="de-DE" dirty="0"/>
              <a:t>05</a:t>
            </a:r>
          </a:p>
          <a:p>
            <a:pPr lvl="5"/>
            <a:r>
              <a:rPr lang="de-DE" dirty="0"/>
              <a:t>06</a:t>
            </a:r>
          </a:p>
          <a:p>
            <a:pPr lvl="6"/>
            <a:r>
              <a:rPr lang="de-DE" dirty="0"/>
              <a:t>07</a:t>
            </a:r>
          </a:p>
          <a:p>
            <a:pPr lvl="7"/>
            <a:r>
              <a:rPr lang="de-DE" dirty="0"/>
              <a:t>08</a:t>
            </a:r>
          </a:p>
          <a:p>
            <a:pPr lvl="8"/>
            <a:r>
              <a:rPr lang="de-DE" dirty="0"/>
              <a:t>09</a:t>
            </a:r>
          </a:p>
        </p:txBody>
      </p:sp>
      <p:cxnSp>
        <p:nvCxnSpPr>
          <p:cNvPr id="13" name="Gerade Verbindung 117">
            <a:extLst>
              <a:ext uri="{FF2B5EF4-FFF2-40B4-BE49-F238E27FC236}">
                <a16:creationId xmlns:a16="http://schemas.microsoft.com/office/drawing/2014/main" id="{C227105A-4E0A-4743-85BD-FE788683CE13}"/>
              </a:ext>
            </a:extLst>
          </p:cNvPr>
          <p:cNvCxnSpPr/>
          <p:nvPr/>
        </p:nvCxnSpPr>
        <p:spPr>
          <a:xfrm flipH="1">
            <a:off x="-313547" y="1272880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9">
            <a:extLst>
              <a:ext uri="{FF2B5EF4-FFF2-40B4-BE49-F238E27FC236}">
                <a16:creationId xmlns:a16="http://schemas.microsoft.com/office/drawing/2014/main" id="{209D897F-E37A-490B-80F1-9B65CCA7E24D}"/>
              </a:ext>
            </a:extLst>
          </p:cNvPr>
          <p:cNvCxnSpPr/>
          <p:nvPr/>
        </p:nvCxnSpPr>
        <p:spPr>
          <a:xfrm flipH="1">
            <a:off x="-313547" y="1528727"/>
            <a:ext cx="216052" cy="0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5">
            <a:extLst>
              <a:ext uri="{FF2B5EF4-FFF2-40B4-BE49-F238E27FC236}">
                <a16:creationId xmlns:a16="http://schemas.microsoft.com/office/drawing/2014/main" id="{ABFA64F6-A075-475F-8706-C0EF95691198}"/>
              </a:ext>
            </a:extLst>
          </p:cNvPr>
          <p:cNvCxnSpPr/>
          <p:nvPr/>
        </p:nvCxnSpPr>
        <p:spPr>
          <a:xfrm>
            <a:off x="6096000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26">
            <a:extLst>
              <a:ext uri="{FF2B5EF4-FFF2-40B4-BE49-F238E27FC236}">
                <a16:creationId xmlns:a16="http://schemas.microsoft.com/office/drawing/2014/main" id="{08828AB7-1F56-4A69-92F5-15969BDD8E19}"/>
              </a:ext>
            </a:extLst>
          </p:cNvPr>
          <p:cNvCxnSpPr/>
          <p:nvPr/>
        </p:nvCxnSpPr>
        <p:spPr>
          <a:xfrm>
            <a:off x="511896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27">
            <a:extLst>
              <a:ext uri="{FF2B5EF4-FFF2-40B4-BE49-F238E27FC236}">
                <a16:creationId xmlns:a16="http://schemas.microsoft.com/office/drawing/2014/main" id="{F85B75B9-D579-467A-9B7A-40A9C580952A}"/>
              </a:ext>
            </a:extLst>
          </p:cNvPr>
          <p:cNvCxnSpPr/>
          <p:nvPr/>
        </p:nvCxnSpPr>
        <p:spPr>
          <a:xfrm>
            <a:off x="3306281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28">
            <a:extLst>
              <a:ext uri="{FF2B5EF4-FFF2-40B4-BE49-F238E27FC236}">
                <a16:creationId xmlns:a16="http://schemas.microsoft.com/office/drawing/2014/main" id="{43CF8A61-B833-445F-8BFA-4BAB8277CCA6}"/>
              </a:ext>
            </a:extLst>
          </p:cNvPr>
          <p:cNvCxnSpPr/>
          <p:nvPr/>
        </p:nvCxnSpPr>
        <p:spPr>
          <a:xfrm>
            <a:off x="8886101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29">
            <a:extLst>
              <a:ext uri="{FF2B5EF4-FFF2-40B4-BE49-F238E27FC236}">
                <a16:creationId xmlns:a16="http://schemas.microsoft.com/office/drawing/2014/main" id="{9AF9D8AC-8F09-4713-8E12-A5EC18A614A7}"/>
              </a:ext>
            </a:extLst>
          </p:cNvPr>
          <p:cNvCxnSpPr/>
          <p:nvPr/>
        </p:nvCxnSpPr>
        <p:spPr>
          <a:xfrm>
            <a:off x="11690492" y="-215950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0">
            <a:extLst>
              <a:ext uri="{FF2B5EF4-FFF2-40B4-BE49-F238E27FC236}">
                <a16:creationId xmlns:a16="http://schemas.microsoft.com/office/drawing/2014/main" id="{9B2DED4E-5A7B-46CC-A81B-FBE6842E79F4}"/>
              </a:ext>
            </a:extLst>
          </p:cNvPr>
          <p:cNvCxnSpPr/>
          <p:nvPr/>
        </p:nvCxnSpPr>
        <p:spPr>
          <a:xfrm>
            <a:off x="6099810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1">
            <a:extLst>
              <a:ext uri="{FF2B5EF4-FFF2-40B4-BE49-F238E27FC236}">
                <a16:creationId xmlns:a16="http://schemas.microsoft.com/office/drawing/2014/main" id="{225CF5E5-9195-41DD-87E6-8B5494443301}"/>
              </a:ext>
            </a:extLst>
          </p:cNvPr>
          <p:cNvCxnSpPr/>
          <p:nvPr/>
        </p:nvCxnSpPr>
        <p:spPr>
          <a:xfrm>
            <a:off x="515707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2">
            <a:extLst>
              <a:ext uri="{FF2B5EF4-FFF2-40B4-BE49-F238E27FC236}">
                <a16:creationId xmlns:a16="http://schemas.microsoft.com/office/drawing/2014/main" id="{91D1DE6C-D629-4DB9-AD69-D5D1994E4207}"/>
              </a:ext>
            </a:extLst>
          </p:cNvPr>
          <p:cNvCxnSpPr/>
          <p:nvPr/>
        </p:nvCxnSpPr>
        <p:spPr>
          <a:xfrm>
            <a:off x="3310090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3">
            <a:extLst>
              <a:ext uri="{FF2B5EF4-FFF2-40B4-BE49-F238E27FC236}">
                <a16:creationId xmlns:a16="http://schemas.microsoft.com/office/drawing/2014/main" id="{425C6EF3-9F53-4739-96E9-13E0072C2629}"/>
              </a:ext>
            </a:extLst>
          </p:cNvPr>
          <p:cNvCxnSpPr/>
          <p:nvPr/>
        </p:nvCxnSpPr>
        <p:spPr>
          <a:xfrm>
            <a:off x="8889912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4">
            <a:extLst>
              <a:ext uri="{FF2B5EF4-FFF2-40B4-BE49-F238E27FC236}">
                <a16:creationId xmlns:a16="http://schemas.microsoft.com/office/drawing/2014/main" id="{DA049084-877D-4462-BFF0-DFE9644D4894}"/>
              </a:ext>
            </a:extLst>
          </p:cNvPr>
          <p:cNvCxnSpPr/>
          <p:nvPr/>
        </p:nvCxnSpPr>
        <p:spPr>
          <a:xfrm>
            <a:off x="11694302" y="6888393"/>
            <a:ext cx="0" cy="161981"/>
          </a:xfrm>
          <a:prstGeom prst="line">
            <a:avLst/>
          </a:prstGeom>
          <a:ln>
            <a:solidFill>
              <a:schemeClr val="bg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Freeform 54">
            <a:extLst>
              <a:ext uri="{FF2B5EF4-FFF2-40B4-BE49-F238E27FC236}">
                <a16:creationId xmlns:a16="http://schemas.microsoft.com/office/drawing/2014/main" id="{F65FC28E-EBDF-4F74-A77B-2E3F46E967F2}"/>
              </a:ext>
            </a:extLst>
          </p:cNvPr>
          <p:cNvSpPr>
            <a:spLocks noEditPoints="1"/>
          </p:cNvSpPr>
          <p:nvPr/>
        </p:nvSpPr>
        <p:spPr bwMode="auto">
          <a:xfrm>
            <a:off x="11387786" y="260649"/>
            <a:ext cx="308914" cy="309907"/>
          </a:xfrm>
          <a:custGeom>
            <a:avLst/>
            <a:gdLst>
              <a:gd name="T0" fmla="*/ 227 w 396"/>
              <a:gd name="T1" fmla="*/ 310 h 397"/>
              <a:gd name="T2" fmla="*/ 227 w 396"/>
              <a:gd name="T3" fmla="*/ 91 h 397"/>
              <a:gd name="T4" fmla="*/ 204 w 396"/>
              <a:gd name="T5" fmla="*/ 68 h 397"/>
              <a:gd name="T6" fmla="*/ 152 w 396"/>
              <a:gd name="T7" fmla="*/ 68 h 397"/>
              <a:gd name="T8" fmla="*/ 152 w 396"/>
              <a:gd name="T9" fmla="*/ 92 h 397"/>
              <a:gd name="T10" fmla="*/ 155 w 396"/>
              <a:gd name="T11" fmla="*/ 92 h 397"/>
              <a:gd name="T12" fmla="*/ 169 w 396"/>
              <a:gd name="T13" fmla="*/ 109 h 397"/>
              <a:gd name="T14" fmla="*/ 169 w 396"/>
              <a:gd name="T15" fmla="*/ 310 h 397"/>
              <a:gd name="T16" fmla="*/ 227 w 396"/>
              <a:gd name="T17" fmla="*/ 310 h 397"/>
              <a:gd name="T18" fmla="*/ 252 w 396"/>
              <a:gd name="T19" fmla="*/ 310 h 397"/>
              <a:gd name="T20" fmla="*/ 309 w 396"/>
              <a:gd name="T21" fmla="*/ 310 h 397"/>
              <a:gd name="T22" fmla="*/ 309 w 396"/>
              <a:gd name="T23" fmla="*/ 139 h 397"/>
              <a:gd name="T24" fmla="*/ 286 w 396"/>
              <a:gd name="T25" fmla="*/ 116 h 397"/>
              <a:gd name="T26" fmla="*/ 252 w 396"/>
              <a:gd name="T27" fmla="*/ 116 h 397"/>
              <a:gd name="T28" fmla="*/ 252 w 396"/>
              <a:gd name="T29" fmla="*/ 310 h 397"/>
              <a:gd name="T30" fmla="*/ 144 w 396"/>
              <a:gd name="T31" fmla="*/ 310 h 397"/>
              <a:gd name="T32" fmla="*/ 144 w 396"/>
              <a:gd name="T33" fmla="*/ 116 h 397"/>
              <a:gd name="T34" fmla="*/ 111 w 396"/>
              <a:gd name="T35" fmla="*/ 116 h 397"/>
              <a:gd name="T36" fmla="*/ 87 w 396"/>
              <a:gd name="T37" fmla="*/ 139 h 397"/>
              <a:gd name="T38" fmla="*/ 87 w 396"/>
              <a:gd name="T39" fmla="*/ 310 h 397"/>
              <a:gd name="T40" fmla="*/ 144 w 396"/>
              <a:gd name="T41" fmla="*/ 310 h 397"/>
              <a:gd name="T42" fmla="*/ 363 w 396"/>
              <a:gd name="T43" fmla="*/ 199 h 397"/>
              <a:gd name="T44" fmla="*/ 198 w 396"/>
              <a:gd name="T45" fmla="*/ 365 h 397"/>
              <a:gd name="T46" fmla="*/ 33 w 396"/>
              <a:gd name="T47" fmla="*/ 199 h 397"/>
              <a:gd name="T48" fmla="*/ 198 w 396"/>
              <a:gd name="T49" fmla="*/ 32 h 397"/>
              <a:gd name="T50" fmla="*/ 363 w 396"/>
              <a:gd name="T51" fmla="*/ 199 h 397"/>
              <a:gd name="T52" fmla="*/ 396 w 396"/>
              <a:gd name="T53" fmla="*/ 199 h 397"/>
              <a:gd name="T54" fmla="*/ 198 w 396"/>
              <a:gd name="T55" fmla="*/ 0 h 397"/>
              <a:gd name="T56" fmla="*/ 0 w 396"/>
              <a:gd name="T57" fmla="*/ 199 h 397"/>
              <a:gd name="T58" fmla="*/ 198 w 396"/>
              <a:gd name="T59" fmla="*/ 397 h 397"/>
              <a:gd name="T60" fmla="*/ 396 w 396"/>
              <a:gd name="T61" fmla="*/ 199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96" h="397">
                <a:moveTo>
                  <a:pt x="227" y="310"/>
                </a:moveTo>
                <a:cubicBezTo>
                  <a:pt x="227" y="91"/>
                  <a:pt x="227" y="91"/>
                  <a:pt x="227" y="91"/>
                </a:cubicBezTo>
                <a:cubicBezTo>
                  <a:pt x="227" y="73"/>
                  <a:pt x="220" y="68"/>
                  <a:pt x="204" y="68"/>
                </a:cubicBezTo>
                <a:cubicBezTo>
                  <a:pt x="152" y="68"/>
                  <a:pt x="152" y="68"/>
                  <a:pt x="152" y="68"/>
                </a:cubicBezTo>
                <a:cubicBezTo>
                  <a:pt x="152" y="92"/>
                  <a:pt x="152" y="92"/>
                  <a:pt x="152" y="92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67" y="92"/>
                  <a:pt x="169" y="95"/>
                  <a:pt x="169" y="109"/>
                </a:cubicBezTo>
                <a:cubicBezTo>
                  <a:pt x="169" y="310"/>
                  <a:pt x="169" y="310"/>
                  <a:pt x="169" y="310"/>
                </a:cubicBezTo>
                <a:lnTo>
                  <a:pt x="227" y="310"/>
                </a:lnTo>
                <a:close/>
                <a:moveTo>
                  <a:pt x="252" y="310"/>
                </a:moveTo>
                <a:cubicBezTo>
                  <a:pt x="309" y="310"/>
                  <a:pt x="309" y="310"/>
                  <a:pt x="309" y="310"/>
                </a:cubicBezTo>
                <a:cubicBezTo>
                  <a:pt x="309" y="139"/>
                  <a:pt x="309" y="139"/>
                  <a:pt x="309" y="139"/>
                </a:cubicBezTo>
                <a:cubicBezTo>
                  <a:pt x="309" y="122"/>
                  <a:pt x="302" y="116"/>
                  <a:pt x="286" y="116"/>
                </a:cubicBezTo>
                <a:cubicBezTo>
                  <a:pt x="252" y="116"/>
                  <a:pt x="252" y="116"/>
                  <a:pt x="252" y="116"/>
                </a:cubicBezTo>
                <a:lnTo>
                  <a:pt x="252" y="310"/>
                </a:lnTo>
                <a:close/>
                <a:moveTo>
                  <a:pt x="144" y="310"/>
                </a:moveTo>
                <a:cubicBezTo>
                  <a:pt x="144" y="116"/>
                  <a:pt x="144" y="116"/>
                  <a:pt x="144" y="116"/>
                </a:cubicBezTo>
                <a:cubicBezTo>
                  <a:pt x="111" y="116"/>
                  <a:pt x="111" y="116"/>
                  <a:pt x="111" y="116"/>
                </a:cubicBezTo>
                <a:cubicBezTo>
                  <a:pt x="94" y="116"/>
                  <a:pt x="87" y="122"/>
                  <a:pt x="87" y="139"/>
                </a:cubicBezTo>
                <a:cubicBezTo>
                  <a:pt x="87" y="310"/>
                  <a:pt x="87" y="310"/>
                  <a:pt x="87" y="310"/>
                </a:cubicBezTo>
                <a:lnTo>
                  <a:pt x="144" y="310"/>
                </a:lnTo>
                <a:close/>
                <a:moveTo>
                  <a:pt x="363" y="199"/>
                </a:moveTo>
                <a:cubicBezTo>
                  <a:pt x="363" y="295"/>
                  <a:pt x="293" y="365"/>
                  <a:pt x="198" y="365"/>
                </a:cubicBezTo>
                <a:cubicBezTo>
                  <a:pt x="103" y="365"/>
                  <a:pt x="33" y="295"/>
                  <a:pt x="33" y="199"/>
                </a:cubicBezTo>
                <a:cubicBezTo>
                  <a:pt x="33" y="102"/>
                  <a:pt x="103" y="32"/>
                  <a:pt x="198" y="32"/>
                </a:cubicBezTo>
                <a:cubicBezTo>
                  <a:pt x="293" y="32"/>
                  <a:pt x="363" y="103"/>
                  <a:pt x="363" y="199"/>
                </a:cubicBezTo>
                <a:moveTo>
                  <a:pt x="396" y="199"/>
                </a:moveTo>
                <a:cubicBezTo>
                  <a:pt x="396" y="85"/>
                  <a:pt x="312" y="0"/>
                  <a:pt x="198" y="0"/>
                </a:cubicBezTo>
                <a:cubicBezTo>
                  <a:pt x="85" y="0"/>
                  <a:pt x="0" y="85"/>
                  <a:pt x="0" y="199"/>
                </a:cubicBezTo>
                <a:cubicBezTo>
                  <a:pt x="0" y="312"/>
                  <a:pt x="85" y="397"/>
                  <a:pt x="198" y="397"/>
                </a:cubicBezTo>
                <a:cubicBezTo>
                  <a:pt x="312" y="397"/>
                  <a:pt x="396" y="312"/>
                  <a:pt x="396" y="199"/>
                </a:cubicBezTo>
              </a:path>
            </a:pathLst>
          </a:custGeom>
          <a:solidFill>
            <a:srgbClr val="003781"/>
          </a:solidFill>
          <a:ln>
            <a:noFill/>
          </a:ln>
        </p:spPr>
        <p:txBody>
          <a:bodyPr vert="horz" wrap="square" lIns="121887" tIns="60943" rIns="121887" bIns="60943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12188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399" b="0" i="0" u="none" strike="noStrike" kern="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6A6C6C3-2B2D-4E1E-A1DF-923A74D99F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72522" y="6492899"/>
            <a:ext cx="2410546" cy="12532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de-DE" sz="800" smtClean="0"/>
            </a:lvl1pPr>
          </a:lstStyle>
          <a:p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FA06AF3-82C8-467B-AF65-8E55BBCC8E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2693" y="6367580"/>
            <a:ext cx="5593308" cy="12532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de-DE" sz="800"/>
            </a:lvl1pPr>
          </a:lstStyle>
          <a:p>
            <a:r>
              <a:rPr lang="de-DE"/>
              <a:t>FirmenOnline | Sponsoren Board | 29.03.2021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8F35A7D-686F-459E-821D-6829D1504A73}"/>
              </a:ext>
            </a:extLst>
          </p:cNvPr>
          <p:cNvSpPr txBox="1"/>
          <p:nvPr/>
        </p:nvSpPr>
        <p:spPr>
          <a:xfrm>
            <a:off x="515707" y="6492899"/>
            <a:ext cx="46705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Allianz </a:t>
            </a:r>
            <a:endParaRPr lang="de-DE" sz="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939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  <p:sldLayoutId id="2147483769" r:id="rId26"/>
    <p:sldLayoutId id="2147483770" r:id="rId27"/>
    <p:sldLayoutId id="2147483771" r:id="rId28"/>
    <p:sldLayoutId id="2147483772" r:id="rId29"/>
    <p:sldLayoutId id="2147483773" r:id="rId30"/>
    <p:sldLayoutId id="2147483774" r:id="rId31"/>
  </p:sldLayoutIdLst>
  <p:hf hdr="0" dt="0"/>
  <p:txStyles>
    <p:titleStyle>
      <a:lvl1pPr algn="l" defTabSz="1218897" rtl="0" eaLnBrk="1" latinLnBrk="0" hangingPunct="1">
        <a:spcBef>
          <a:spcPct val="0"/>
        </a:spcBef>
        <a:buNone/>
        <a:defRPr sz="2999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799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9348" marR="0" indent="-179348" algn="l" defTabSz="1218897" rtl="0" eaLnBrk="1" fontAlgn="auto" latinLnBrk="0" hangingPunct="1">
        <a:lnSpc>
          <a:spcPct val="100000"/>
        </a:lnSpc>
        <a:spcBef>
          <a:spcPts val="200"/>
        </a:spcBef>
        <a:spcAft>
          <a:spcPts val="200"/>
        </a:spcAft>
        <a:buClrTx/>
        <a:buSzTx/>
        <a:buFont typeface="Arial" panose="020B0604020202020204" pitchFamily="34" charset="0"/>
        <a:buChar char="•"/>
        <a:tabLst/>
        <a:defRPr lang="en-GB" sz="1799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3934" indent="-17934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237008" indent="-23700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Clr>
          <a:schemeClr val="tx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9348" indent="-179348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122736" indent="-122736" algn="l" defTabSz="1218897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+mj-lt"/>
        <a:buAutoNum type="arabicParenR"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9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7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4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3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2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90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7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6" algn="l" defTabSz="1218897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59">
          <p15:clr>
            <a:srgbClr val="F26B43"/>
          </p15:clr>
        </p15:guide>
        <p15:guide id="2" pos="320">
          <p15:clr>
            <a:srgbClr val="F26B43"/>
          </p15:clr>
        </p15:guide>
        <p15:guide id="3" pos="7364">
          <p15:clr>
            <a:srgbClr val="F26B43"/>
          </p15:clr>
        </p15:guide>
        <p15:guide id="4" orient="horz" pos="3998">
          <p15:clr>
            <a:srgbClr val="F26B43"/>
          </p15:clr>
        </p15:guide>
        <p15:guide id="5" orient="horz" pos="278">
          <p15:clr>
            <a:srgbClr val="F26B43"/>
          </p15:clr>
        </p15:guide>
        <p15:guide id="6" orient="horz" pos="165">
          <p15:clr>
            <a:srgbClr val="F26B43"/>
          </p15:clr>
        </p15:guide>
        <p15:guide id="7" orient="horz" pos="822">
          <p15:clr>
            <a:srgbClr val="F26B43"/>
          </p15:clr>
        </p15:guide>
        <p15:guide id="8" orient="horz" pos="2387">
          <p15:clr>
            <a:srgbClr val="F26B43"/>
          </p15:clr>
        </p15:guide>
        <p15:guide id="9" orient="horz" pos="3839">
          <p15:clr>
            <a:srgbClr val="F26B43"/>
          </p15:clr>
        </p15:guide>
        <p15:guide id="10" orient="horz" pos="4179">
          <p15:clr>
            <a:srgbClr val="F26B43"/>
          </p15:clr>
        </p15:guide>
        <p15:guide id="11" pos="383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1DE283E6-A5BA-4B3C-88E4-54966FAC34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845E14-909C-4B3E-8D6E-D6710B8703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4" y="1808163"/>
            <a:ext cx="11233151" cy="4357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Ebenen 7 bis 9 nicht verwend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8440D7-D4EC-4E78-AA22-CBC23D0FE4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165850"/>
            <a:ext cx="9324974" cy="35015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lnSpc>
                <a:spcPct val="90000"/>
              </a:lnSpc>
              <a:defRPr sz="800" b="0" cap="none" spc="0" baseline="0"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Foliennummernplatzhalter 9">
            <a:extLst>
              <a:ext uri="{FF2B5EF4-FFF2-40B4-BE49-F238E27FC236}">
                <a16:creationId xmlns:a16="http://schemas.microsoft.com/office/drawing/2014/main" id="{804B8442-C573-4F72-B4E9-57061958D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lnSpc>
                <a:spcPts val="1000"/>
              </a:lnSpc>
              <a:defRPr lang="de-DE" sz="8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6C449F3-BD9D-48DC-BFF1-0F66671DA7C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66DEB18-BBD7-44DA-AA15-D29EF8863ABF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728" y="504000"/>
            <a:ext cx="1016541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0184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</p:sldLayoutIdLst>
  <p:hf hdr="0" ftr="0" dt="0"/>
  <p:txStyles>
    <p:titleStyle>
      <a:lvl1pPr algn="l" defTabSz="967710" rtl="0" eaLnBrk="1" latinLnBrk="0" hangingPunct="1">
        <a:lnSpc>
          <a:spcPts val="3800"/>
        </a:lnSpc>
        <a:spcBef>
          <a:spcPct val="0"/>
        </a:spcBef>
        <a:buNone/>
        <a:defRPr sz="3800" kern="1200">
          <a:solidFill>
            <a:schemeClr val="bg1"/>
          </a:solidFill>
          <a:latin typeface="+mn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67710" rtl="0" eaLnBrk="1" latinLnBrk="0" hangingPunct="1">
        <a:lnSpc>
          <a:spcPct val="100000"/>
        </a:lnSpc>
        <a:spcBef>
          <a:spcPts val="0"/>
        </a:spcBef>
        <a:buFont typeface="+mj-lt"/>
        <a:buNone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+mj-lt"/>
        <a:buAutoNum type="arabicPeriod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288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576000" indent="-288000" algn="l" defTabSz="96771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-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0" indent="0" algn="l" defTabSz="967710" rtl="0" eaLnBrk="1" latinLnBrk="0" hangingPunct="1">
        <a:lnSpc>
          <a:spcPct val="100000"/>
        </a:lnSpc>
        <a:spcBef>
          <a:spcPts val="2400"/>
        </a:spcBef>
        <a:buFont typeface="Arial" panose="020B0604020202020204" pitchFamily="34" charset="0"/>
        <a:buNone/>
        <a:defRPr sz="800" kern="1200">
          <a:solidFill>
            <a:schemeClr val="bg1"/>
          </a:solidFill>
          <a:latin typeface="+mn-lt"/>
          <a:ea typeface="+mn-ea"/>
          <a:cs typeface="+mn-cs"/>
        </a:defRPr>
      </a:lvl6pPr>
      <a:lvl7pPr marL="0" indent="0" algn="l" defTabSz="96771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kern="1200">
          <a:solidFill>
            <a:srgbClr val="FF0000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6" orient="horz" pos="3884">
          <p15:clr>
            <a:srgbClr val="F26B43"/>
          </p15:clr>
        </p15:guide>
        <p15:guide id="9" pos="1368">
          <p15:clr>
            <a:srgbClr val="F26B43"/>
          </p15:clr>
        </p15:guide>
        <p15:guide id="10" pos="1504">
          <p15:clr>
            <a:srgbClr val="F26B43"/>
          </p15:clr>
        </p15:guide>
        <p15:guide id="11" pos="2570">
          <p15:clr>
            <a:srgbClr val="F26B43"/>
          </p15:clr>
        </p15:guide>
        <p15:guide id="12" pos="2706">
          <p15:clr>
            <a:srgbClr val="F26B43"/>
          </p15:clr>
        </p15:guide>
        <p15:guide id="13" pos="3772">
          <p15:clr>
            <a:srgbClr val="F26B43"/>
          </p15:clr>
        </p15:guide>
        <p15:guide id="14" pos="3908">
          <p15:clr>
            <a:srgbClr val="F26B43"/>
          </p15:clr>
        </p15:guide>
        <p15:guide id="15" pos="4974">
          <p15:clr>
            <a:srgbClr val="F26B43"/>
          </p15:clr>
        </p15:guide>
        <p15:guide id="16" pos="5110">
          <p15:clr>
            <a:srgbClr val="F26B43"/>
          </p15:clr>
        </p15:guide>
        <p15:guide id="17" pos="6176">
          <p15:clr>
            <a:srgbClr val="F26B43"/>
          </p15:clr>
        </p15:guide>
        <p15:guide id="18" pos="6312">
          <p15:clr>
            <a:srgbClr val="F26B43"/>
          </p15:clr>
        </p15:guide>
        <p15:guide id="19" orient="horz" pos="550">
          <p15:clr>
            <a:srgbClr val="F26B43"/>
          </p15:clr>
        </p15:guide>
        <p15:guide id="22" orient="horz" pos="113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10" Type="http://schemas.openxmlformats.org/officeDocument/2006/relationships/hyperlink" Target="https://www.firmenonline.de/freischaltung.html" TargetMode="External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11.xml"/><Relationship Id="rId7" Type="http://schemas.openxmlformats.org/officeDocument/2006/relationships/diagramData" Target="../diagrams/data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43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0.png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11" Type="http://schemas.openxmlformats.org/officeDocument/2006/relationships/hyperlink" Target="https://demo.firmenonline.de/login" TargetMode="External"/><Relationship Id="rId5" Type="http://schemas.openxmlformats.org/officeDocument/2006/relationships/oleObject" Target="../embeddings/oleObject43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bin"/><Relationship Id="rId13" Type="http://schemas.openxmlformats.org/officeDocument/2006/relationships/image" Target="../media/image29.png"/><Relationship Id="rId3" Type="http://schemas.openxmlformats.org/officeDocument/2006/relationships/hyperlink" Target="https://demo.firmenonline.de/login" TargetMode="External"/><Relationship Id="rId7" Type="http://schemas.openxmlformats.org/officeDocument/2006/relationships/image" Target="../media/image16.png"/><Relationship Id="rId12" Type="http://schemas.openxmlformats.org/officeDocument/2006/relationships/image" Target="../media/image28.png"/><Relationship Id="rId2" Type="http://schemas.openxmlformats.org/officeDocument/2006/relationships/hyperlink" Target="https://www.firmenonline.de/freischaltung.html" TargetMode="Externa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25.bin"/><Relationship Id="rId11" Type="http://schemas.openxmlformats.org/officeDocument/2006/relationships/hyperlink" Target="https://www.firmenonline.de/newsletter.html" TargetMode="External"/><Relationship Id="rId5" Type="http://schemas.openxmlformats.org/officeDocument/2006/relationships/hyperlink" Target="https://www.youtube.com/watch?v=pClA5fRTEdg" TargetMode="External"/><Relationship Id="rId15" Type="http://schemas.openxmlformats.org/officeDocument/2006/relationships/hyperlink" Target="https://makler.allianz.de/leben/firmen/digitales-bav-management/firmenonline.html" TargetMode="External"/><Relationship Id="rId10" Type="http://schemas.openxmlformats.org/officeDocument/2006/relationships/hyperlink" Target="http://firmenonline.de/" TargetMode="External"/><Relationship Id="rId4" Type="http://schemas.openxmlformats.org/officeDocument/2006/relationships/image" Target="../media/image24.bin"/><Relationship Id="rId9" Type="http://schemas.openxmlformats.org/officeDocument/2006/relationships/image" Target="../media/image27.bin"/><Relationship Id="rId14" Type="http://schemas.openxmlformats.org/officeDocument/2006/relationships/hyperlink" Target="https://amisonline.allianz.de/leben/firmen/digitales-bav-management/firmenonline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1" r="10448"/>
          <a:stretch/>
        </p:blipFill>
        <p:spPr>
          <a:xfrm>
            <a:off x="5315706" y="2"/>
            <a:ext cx="6876294" cy="6857998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55C425FE-77CA-4FE6-B632-152A38FCC151}"/>
              </a:ext>
            </a:extLst>
          </p:cNvPr>
          <p:cNvSpPr/>
          <p:nvPr/>
        </p:nvSpPr>
        <p:spPr>
          <a:xfrm>
            <a:off x="11112759" y="4655976"/>
            <a:ext cx="998375" cy="905069"/>
          </a:xfrm>
          <a:prstGeom prst="ellipse">
            <a:avLst/>
          </a:prstGeom>
          <a:solidFill>
            <a:schemeClr val="bg2">
              <a:lumMod val="50000"/>
              <a:alpha val="46000"/>
            </a:schemeClr>
          </a:solidFill>
          <a:ln>
            <a:noFill/>
          </a:ln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1E1A45A6-AAFC-4D86-9200-4A15BD3453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 rot="-5400000">
            <a:off x="10622541" y="5394300"/>
            <a:ext cx="2052917" cy="128400"/>
          </a:xfrm>
        </p:spPr>
        <p:txBody>
          <a:bodyPr/>
          <a:lstStyle/>
          <a:p>
            <a:r>
              <a:rPr lang="de-DE" dirty="0"/>
              <a:t>© Allianz Lebensversicherungs-AG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3498AEBA-199A-4BF6-8FB1-7D6A67A462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78800" y="5968800"/>
            <a:ext cx="1692900" cy="546124"/>
          </a:xfrm>
        </p:spPr>
        <p:txBody>
          <a:bodyPr/>
          <a:lstStyle/>
          <a:p>
            <a:r>
              <a:rPr lang="de-DE" noProof="0" dirty="0"/>
              <a:t>Stephanie </a:t>
            </a:r>
            <a:r>
              <a:rPr lang="de-DE" noProof="0" dirty="0" smtClean="0"/>
              <a:t>Fingerhut</a:t>
            </a:r>
            <a:endParaRPr lang="de-DE" noProof="0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F4F302BB-326D-4195-A983-4A410F1E4A5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78891" y="5960091"/>
            <a:ext cx="1970918" cy="546124"/>
          </a:xfrm>
        </p:spPr>
        <p:txBody>
          <a:bodyPr/>
          <a:lstStyle/>
          <a:p>
            <a:r>
              <a:rPr lang="de-DE" noProof="0" dirty="0" smtClean="0"/>
              <a:t>Stuttgart,15. Juni </a:t>
            </a:r>
            <a:r>
              <a:rPr lang="de-DE" noProof="0" dirty="0"/>
              <a:t>2023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315706" y="2"/>
            <a:ext cx="6876294" cy="6857998"/>
          </a:xfrm>
          <a:prstGeom prst="rect">
            <a:avLst/>
          </a:prstGeom>
          <a:gradFill flip="none" rotWithShape="1">
            <a:gsLst>
              <a:gs pos="70000">
                <a:schemeClr val="tx1">
                  <a:alpha val="10000"/>
                </a:schemeClr>
              </a:gs>
              <a:gs pos="80000">
                <a:schemeClr val="tx1">
                  <a:alpha val="80000"/>
                </a:schemeClr>
              </a:gs>
              <a:gs pos="70000">
                <a:schemeClr val="tx1">
                  <a:alpha val="30000"/>
                </a:schemeClr>
              </a:gs>
              <a:gs pos="100000">
                <a:schemeClr val="tx1"/>
              </a:gs>
            </a:gsLst>
            <a:lin ang="10800000" scaled="1"/>
            <a:tileRect/>
          </a:gradFill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7AD26D70-5616-4C05-9FA2-2E5524608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800" y="1657746"/>
            <a:ext cx="6265975" cy="3130154"/>
          </a:xfrm>
        </p:spPr>
        <p:txBody>
          <a:bodyPr/>
          <a:lstStyle/>
          <a:p>
            <a:pPr>
              <a:lnSpc>
                <a:spcPts val="3700"/>
              </a:lnSpc>
              <a:spcBef>
                <a:spcPts val="300"/>
              </a:spcBef>
            </a:pPr>
            <a:r>
              <a:rPr lang="de-DE" sz="3700" dirty="0" err="1">
                <a:ea typeface="+mn-ea"/>
                <a:cs typeface="+mn-cs"/>
              </a:rPr>
              <a:t>FirmenOnline</a:t>
            </a:r>
            <a:r>
              <a:rPr lang="de-DE" sz="3700" dirty="0">
                <a:ea typeface="+mn-ea"/>
                <a:cs typeface="+mn-cs"/>
              </a:rPr>
              <a:t> Basisschulung</a:t>
            </a:r>
            <a:br>
              <a:rPr lang="de-DE" sz="3700" dirty="0">
                <a:ea typeface="+mn-ea"/>
                <a:cs typeface="+mn-cs"/>
              </a:rPr>
            </a:br>
            <a:r>
              <a:rPr lang="de-DE" sz="3700" dirty="0">
                <a:ea typeface="+mn-ea"/>
                <a:cs typeface="+mn-cs"/>
              </a:rPr>
              <a:t/>
            </a:r>
            <a:br>
              <a:rPr lang="de-DE" sz="3700" dirty="0">
                <a:ea typeface="+mn-ea"/>
                <a:cs typeface="+mn-cs"/>
              </a:rPr>
            </a:br>
            <a:r>
              <a:rPr lang="de-DE" sz="3700" dirty="0" smtClean="0">
                <a:solidFill>
                  <a:schemeClr val="accent4"/>
                </a:solidFill>
                <a:ea typeface="+mn-ea"/>
                <a:cs typeface="+mn-cs"/>
              </a:rPr>
              <a:t>Freischaltung für das</a:t>
            </a:r>
            <a:r>
              <a:rPr lang="de-DE" sz="3700" dirty="0" smtClean="0">
                <a:ea typeface="+mn-ea"/>
                <a:cs typeface="+mn-cs"/>
              </a:rPr>
              <a:t> </a:t>
            </a:r>
            <a:r>
              <a:rPr lang="de-DE" sz="3700" dirty="0" smtClean="0">
                <a:solidFill>
                  <a:schemeClr val="accent4"/>
                </a:solidFill>
                <a:ea typeface="+mn-ea"/>
                <a:cs typeface="+mn-cs"/>
              </a:rPr>
              <a:t>Arbeitgeber-Portal</a:t>
            </a:r>
            <a:endParaRPr lang="de-DE" sz="3700" dirty="0">
              <a:solidFill>
                <a:schemeClr val="accent4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730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B5584A8-9430-426E-9E9F-AE626D753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>
                <a:solidFill>
                  <a:srgbClr val="13A0D3"/>
                </a:solidFill>
              </a:rPr>
              <a:t>Agenda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E4131024-58E4-45F8-9102-CEF466997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de-DE" sz="1693" b="1" dirty="0">
                <a:solidFill>
                  <a:schemeClr val="tx2"/>
                </a:solidFill>
              </a:rPr>
              <a:t>Einführung / Organisatorisches</a:t>
            </a:r>
          </a:p>
          <a:p>
            <a:pPr lvl="1"/>
            <a:endParaRPr lang="de-DE" sz="1693" b="1" dirty="0">
              <a:solidFill>
                <a:schemeClr val="tx2"/>
              </a:solidFill>
            </a:endParaRPr>
          </a:p>
          <a:p>
            <a:pPr lvl="1"/>
            <a:r>
              <a:rPr lang="de-DE" sz="1693" b="1" dirty="0" smtClean="0">
                <a:solidFill>
                  <a:schemeClr val="tx2"/>
                </a:solidFill>
              </a:rPr>
              <a:t>Der Freischaltungsprozess</a:t>
            </a:r>
          </a:p>
          <a:p>
            <a:pPr lvl="1"/>
            <a:endParaRPr lang="de-DE" sz="1693" b="1" dirty="0" smtClean="0">
              <a:solidFill>
                <a:schemeClr val="tx2"/>
              </a:solidFill>
            </a:endParaRPr>
          </a:p>
          <a:p>
            <a:pPr lvl="1"/>
            <a:r>
              <a:rPr lang="de-DE" sz="1693" b="1" dirty="0" smtClean="0">
                <a:solidFill>
                  <a:schemeClr val="tx2"/>
                </a:solidFill>
              </a:rPr>
              <a:t>Beteiligte im Freischaltungsprozess</a:t>
            </a:r>
          </a:p>
          <a:p>
            <a:pPr marL="0" lvl="1" indent="0">
              <a:buNone/>
            </a:pPr>
            <a:endParaRPr lang="de-DE" sz="1693" b="1" dirty="0" smtClean="0">
              <a:solidFill>
                <a:schemeClr val="tx2"/>
              </a:solidFill>
            </a:endParaRPr>
          </a:p>
          <a:p>
            <a:pPr lvl="1"/>
            <a:r>
              <a:rPr lang="de-DE" sz="1693" b="1" dirty="0" smtClean="0">
                <a:solidFill>
                  <a:schemeClr val="tx2"/>
                </a:solidFill>
              </a:rPr>
              <a:t>Konzept des </a:t>
            </a:r>
            <a:r>
              <a:rPr lang="de-DE" sz="1693" b="1" dirty="0" err="1" smtClean="0">
                <a:solidFill>
                  <a:schemeClr val="tx2"/>
                </a:solidFill>
              </a:rPr>
              <a:t>FirmenAdmins</a:t>
            </a:r>
            <a:endParaRPr lang="de-DE" sz="1693" b="1" dirty="0">
              <a:solidFill>
                <a:schemeClr val="tx2"/>
              </a:solidFill>
            </a:endParaRPr>
          </a:p>
          <a:p>
            <a:pPr marL="0" lvl="1" indent="0">
              <a:buNone/>
            </a:pPr>
            <a:endParaRPr lang="de-DE" sz="1693" b="1" dirty="0">
              <a:solidFill>
                <a:schemeClr val="tx2"/>
              </a:solidFill>
            </a:endParaRPr>
          </a:p>
          <a:p>
            <a:pPr lvl="1"/>
            <a:r>
              <a:rPr lang="de-DE" sz="1693" b="1" dirty="0">
                <a:solidFill>
                  <a:schemeClr val="tx2"/>
                </a:solidFill>
              </a:rPr>
              <a:t>Informationsquellen: Wo finde ich was?</a:t>
            </a:r>
          </a:p>
          <a:p>
            <a:pPr lvl="1"/>
            <a:endParaRPr lang="de-DE" sz="1693" b="1" dirty="0">
              <a:solidFill>
                <a:schemeClr val="tx2"/>
              </a:solidFill>
            </a:endParaRPr>
          </a:p>
          <a:p>
            <a:pPr lvl="1"/>
            <a:r>
              <a:rPr lang="de-DE" sz="1693" b="1" dirty="0">
                <a:solidFill>
                  <a:schemeClr val="tx2"/>
                </a:solidFill>
              </a:rPr>
              <a:t>Fragen und Antwor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93B16C-AD0D-42E5-92A8-8C3B5451B7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3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C449F3-BD9D-48DC-BFF1-0F66671DA7C6}" type="slidenum">
              <a:rPr kumimoji="0" lang="de-DE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3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516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495B790-2A68-4960-B9BB-4E24DA2ABE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4894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3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89A7A182-EF37-4E98-82D0-9EC00BBD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 vert="horz"/>
          <a:lstStyle/>
          <a:p>
            <a:r>
              <a:rPr lang="de-DE" dirty="0" smtClean="0"/>
              <a:t>Wie bekomme ich einen Account für </a:t>
            </a:r>
            <a:r>
              <a:rPr lang="de-DE" dirty="0" err="1" smtClean="0"/>
              <a:t>FirmenOnline</a:t>
            </a:r>
            <a:r>
              <a:rPr lang="de-DE" dirty="0" smtClean="0"/>
              <a:t>?</a:t>
            </a:r>
            <a:endParaRPr lang="de-DE" dirty="0">
              <a:solidFill>
                <a:srgbClr val="13A0D3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Freischaltung für das Arbeitgeber-portal</a:t>
            </a:r>
            <a:endParaRPr lang="de-DE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2C24F9D-9679-4584-AB89-DDF35E96D2F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A7133BD-75EB-4BCF-AAC3-284B9F3EB21C}"/>
              </a:ext>
            </a:extLst>
          </p:cNvPr>
          <p:cNvSpPr/>
          <p:nvPr/>
        </p:nvSpPr>
        <p:spPr>
          <a:xfrm>
            <a:off x="479423" y="2177656"/>
            <a:ext cx="6807202" cy="2461072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1218926"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de-DE" sz="1600" dirty="0">
                <a:solidFill>
                  <a:schemeClr val="bg1"/>
                </a:solidFill>
              </a:rPr>
              <a:t>Das Arbeitgeber-Portal von FirmenOnline ist ein </a:t>
            </a:r>
            <a:r>
              <a:rPr lang="de-DE" sz="1600" b="1" dirty="0">
                <a:solidFill>
                  <a:schemeClr val="bg1"/>
                </a:solidFill>
              </a:rPr>
              <a:t>legitimationspflichtiger</a:t>
            </a:r>
            <a:r>
              <a:rPr lang="de-DE" sz="1600" dirty="0">
                <a:solidFill>
                  <a:schemeClr val="bg1"/>
                </a:solidFill>
              </a:rPr>
              <a:t> Bereich </a:t>
            </a:r>
            <a:br>
              <a:rPr lang="de-DE" sz="1600" dirty="0">
                <a:solidFill>
                  <a:schemeClr val="bg1"/>
                </a:solidFill>
              </a:rPr>
            </a:br>
            <a:r>
              <a:rPr lang="de-DE" sz="1600" dirty="0">
                <a:solidFill>
                  <a:schemeClr val="bg1"/>
                </a:solidFill>
                <a:sym typeface="Wingdings" panose="05000000000000000000" pitchFamily="2" charset="2"/>
              </a:rPr>
              <a:t> Registrierung über einen </a:t>
            </a:r>
            <a:r>
              <a:rPr lang="de-DE" sz="1600" b="1" dirty="0">
                <a:solidFill>
                  <a:schemeClr val="bg1"/>
                </a:solidFill>
                <a:sym typeface="Wingdings" panose="05000000000000000000" pitchFamily="2" charset="2"/>
              </a:rPr>
              <a:t>Freischaltungsantrag</a:t>
            </a:r>
            <a:r>
              <a:rPr lang="de-DE" sz="1600" dirty="0">
                <a:solidFill>
                  <a:schemeClr val="bg1"/>
                </a:solidFill>
                <a:sym typeface="Wingdings" panose="05000000000000000000" pitchFamily="2" charset="2"/>
              </a:rPr>
              <a:t> erforderlich</a:t>
            </a:r>
          </a:p>
          <a:p>
            <a:pPr marL="285750" indent="-285750" defTabSz="1218926"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de-DE" sz="1600" dirty="0">
                <a:solidFill>
                  <a:schemeClr val="bg1"/>
                </a:solidFill>
              </a:rPr>
              <a:t>Nach Freischaltung erfolgt der Login über </a:t>
            </a:r>
            <a:r>
              <a:rPr lang="de-DE" sz="1600" b="1" dirty="0">
                <a:solidFill>
                  <a:schemeClr val="bg1"/>
                </a:solidFill>
              </a:rPr>
              <a:t>Zugangskennung/ Benutzername</a:t>
            </a:r>
            <a:r>
              <a:rPr lang="de-DE" sz="1600" dirty="0">
                <a:solidFill>
                  <a:schemeClr val="bg1"/>
                </a:solidFill>
              </a:rPr>
              <a:t> und </a:t>
            </a:r>
            <a:r>
              <a:rPr lang="de-DE" sz="1600" b="1" dirty="0">
                <a:solidFill>
                  <a:schemeClr val="bg1"/>
                </a:solidFill>
              </a:rPr>
              <a:t>Passwort</a:t>
            </a:r>
            <a:r>
              <a:rPr lang="de-DE" sz="1600" dirty="0">
                <a:solidFill>
                  <a:schemeClr val="bg1"/>
                </a:solidFill>
              </a:rPr>
              <a:t>.</a:t>
            </a:r>
          </a:p>
          <a:p>
            <a:pPr marL="285750" indent="-285750" defTabSz="1218926">
              <a:buFont typeface="Arial" panose="020B0604020202020204" pitchFamily="34" charset="0"/>
              <a:buChar char="•"/>
              <a:tabLst>
                <a:tab pos="360000" algn="l"/>
              </a:tabLst>
            </a:pPr>
            <a:r>
              <a:rPr lang="de-DE" sz="1600" dirty="0">
                <a:solidFill>
                  <a:schemeClr val="bg1"/>
                </a:solidFill>
              </a:rPr>
              <a:t>Freischaltungsantrag auf </a:t>
            </a:r>
            <a:r>
              <a:rPr lang="de-DE" sz="1600" dirty="0" err="1" smtClean="0">
                <a:solidFill>
                  <a:schemeClr val="bg1"/>
                </a:solidFill>
              </a:rPr>
              <a:t>FirmenOnline</a:t>
            </a:r>
            <a:r>
              <a:rPr lang="de-DE" sz="1600" dirty="0" smtClean="0">
                <a:solidFill>
                  <a:schemeClr val="bg1"/>
                </a:solidFill>
              </a:rPr>
              <a:t>-Webseite (www.firmenonline.de) </a:t>
            </a:r>
            <a:r>
              <a:rPr lang="de-DE" sz="1600" dirty="0">
                <a:solidFill>
                  <a:schemeClr val="bg1"/>
                </a:solidFill>
              </a:rPr>
              <a:t>aufrufbar</a:t>
            </a:r>
          </a:p>
        </p:txBody>
      </p:sp>
      <p:grpSp>
        <p:nvGrpSpPr>
          <p:cNvPr id="9" name="Gruppieren 8"/>
          <p:cNvGrpSpPr/>
          <p:nvPr/>
        </p:nvGrpSpPr>
        <p:grpSpPr>
          <a:xfrm>
            <a:off x="3848101" y="4352925"/>
            <a:ext cx="3609852" cy="2433975"/>
            <a:chOff x="3476316" y="4681135"/>
            <a:chExt cx="3191061" cy="2096240"/>
          </a:xfrm>
        </p:grpSpPr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3FF7D84B-F5D8-4A05-8287-86EF6A031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76316" y="4681135"/>
              <a:ext cx="3191061" cy="2096240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 rotWithShape="1">
            <a:blip r:embed="rId8"/>
            <a:srcRect l="9596" r="11775"/>
            <a:stretch/>
          </p:blipFill>
          <p:spPr>
            <a:xfrm>
              <a:off x="3836720" y="4927280"/>
              <a:ext cx="2356499" cy="1462860"/>
            </a:xfrm>
            <a:prstGeom prst="rect">
              <a:avLst/>
            </a:prstGeom>
          </p:spPr>
        </p:pic>
      </p:grpSp>
      <p:grpSp>
        <p:nvGrpSpPr>
          <p:cNvPr id="15" name="Gruppieren 14"/>
          <p:cNvGrpSpPr/>
          <p:nvPr/>
        </p:nvGrpSpPr>
        <p:grpSpPr>
          <a:xfrm>
            <a:off x="7810500" y="1914036"/>
            <a:ext cx="3695700" cy="4420484"/>
            <a:chOff x="7882377" y="1951516"/>
            <a:chExt cx="3695700" cy="4420484"/>
          </a:xfrm>
        </p:grpSpPr>
        <p:pic>
          <p:nvPicPr>
            <p:cNvPr id="16" name="Grafik 15"/>
            <p:cNvPicPr>
              <a:picLocks noChangeAspect="1"/>
            </p:cNvPicPr>
            <p:nvPr/>
          </p:nvPicPr>
          <p:blipFill rotWithShape="1">
            <a:blip r:embed="rId9"/>
            <a:srcRect l="57627" r="8609" b="16760"/>
            <a:stretch/>
          </p:blipFill>
          <p:spPr>
            <a:xfrm>
              <a:off x="7882377" y="1951516"/>
              <a:ext cx="3695700" cy="442048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7" name="Rechteck 16"/>
            <p:cNvSpPr/>
            <p:nvPr/>
          </p:nvSpPr>
          <p:spPr>
            <a:xfrm>
              <a:off x="9439275" y="1955222"/>
              <a:ext cx="1933575" cy="473653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>
              <a:hlinkClick r:id="rId10"/>
            </p:cNvPr>
            <p:cNvSpPr/>
            <p:nvPr/>
          </p:nvSpPr>
          <p:spPr>
            <a:xfrm>
              <a:off x="8658226" y="5105401"/>
              <a:ext cx="2152650" cy="561648"/>
            </a:xfrm>
            <a:prstGeom prst="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19" name="Gerade Verbindung mit Pfeil 18"/>
          <p:cNvCxnSpPr/>
          <p:nvPr/>
        </p:nvCxnSpPr>
        <p:spPr>
          <a:xfrm flipV="1">
            <a:off x="6858000" y="4257676"/>
            <a:ext cx="952500" cy="38105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803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Ellipse 151"/>
          <p:cNvSpPr/>
          <p:nvPr/>
        </p:nvSpPr>
        <p:spPr>
          <a:xfrm>
            <a:off x="3035480" y="3976449"/>
            <a:ext cx="1604252" cy="552266"/>
          </a:xfrm>
          <a:prstGeom prst="ellipse">
            <a:avLst/>
          </a:prstGeom>
          <a:solidFill>
            <a:srgbClr val="96DCFA">
              <a:lumMod val="20000"/>
              <a:lumOff val="8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107975" tIns="107975" rIns="107975" bIns="1079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rüfbeleg vorhanden?</a:t>
            </a:r>
          </a:p>
        </p:txBody>
      </p:sp>
      <p:sp>
        <p:nvSpPr>
          <p:cNvPr id="153" name="Rectangle: Rounded Corners 15">
            <a:extLst>
              <a:ext uri="{FF2B5EF4-FFF2-40B4-BE49-F238E27FC236}">
                <a16:creationId xmlns:a16="http://schemas.microsoft.com/office/drawing/2014/main" id="{59C68FA3-382C-4296-8A8A-7134A4035563}"/>
              </a:ext>
            </a:extLst>
          </p:cNvPr>
          <p:cNvSpPr/>
          <p:nvPr/>
        </p:nvSpPr>
        <p:spPr>
          <a:xfrm>
            <a:off x="2661424" y="1830984"/>
            <a:ext cx="1745523" cy="746226"/>
          </a:xfrm>
          <a:prstGeom prst="roundRect">
            <a:avLst>
              <a:gd name="adj" fmla="val 7212"/>
            </a:avLst>
          </a:prstGeom>
          <a:solidFill>
            <a:srgbClr val="FFFFFF"/>
          </a:solidFill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Freischaltungsantrag</a:t>
            </a:r>
          </a:p>
        </p:txBody>
      </p:sp>
      <p:sp>
        <p:nvSpPr>
          <p:cNvPr id="154" name="Rectangle 7">
            <a:extLst>
              <a:ext uri="{FF2B5EF4-FFF2-40B4-BE49-F238E27FC236}">
                <a16:creationId xmlns:a16="http://schemas.microsoft.com/office/drawing/2014/main" id="{ACDA6DB2-37FD-4B2F-A1A7-62C357DF4DA5}"/>
              </a:ext>
            </a:extLst>
          </p:cNvPr>
          <p:cNvSpPr/>
          <p:nvPr/>
        </p:nvSpPr>
        <p:spPr>
          <a:xfrm>
            <a:off x="487647" y="1569439"/>
            <a:ext cx="1332429" cy="1473983"/>
          </a:xfrm>
          <a:prstGeom prst="rect">
            <a:avLst/>
          </a:prstGeom>
          <a:solidFill>
            <a:srgbClr val="96DCFA">
              <a:lumMod val="20000"/>
              <a:lumOff val="8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21595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Firma/</a:t>
            </a:r>
            <a:r>
              <a:rPr kumimoji="0" lang="de-DE" sz="1200" b="1" i="0" u="none" strike="noStrike" kern="0" cap="none" spc="0" normalizeH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 Vermittler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55" name="Rectangle 8">
            <a:extLst>
              <a:ext uri="{FF2B5EF4-FFF2-40B4-BE49-F238E27FC236}">
                <a16:creationId xmlns:a16="http://schemas.microsoft.com/office/drawing/2014/main" id="{FC9454D5-6631-4403-87D4-8951A8F95654}"/>
              </a:ext>
            </a:extLst>
          </p:cNvPr>
          <p:cNvSpPr/>
          <p:nvPr/>
        </p:nvSpPr>
        <p:spPr>
          <a:xfrm>
            <a:off x="487646" y="3119732"/>
            <a:ext cx="1330783" cy="1620363"/>
          </a:xfrm>
          <a:prstGeom prst="rect">
            <a:avLst/>
          </a:prstGeom>
          <a:solidFill>
            <a:srgbClr val="96DCFA">
              <a:lumMod val="20000"/>
              <a:lumOff val="8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21595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Service Center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Halle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sp>
        <p:nvSpPr>
          <p:cNvPr id="156" name="Rectangle 9">
            <a:extLst>
              <a:ext uri="{FF2B5EF4-FFF2-40B4-BE49-F238E27FC236}">
                <a16:creationId xmlns:a16="http://schemas.microsoft.com/office/drawing/2014/main" id="{DDB3C712-DFCF-4ABE-90FD-91B050B1D32D}"/>
              </a:ext>
            </a:extLst>
          </p:cNvPr>
          <p:cNvSpPr/>
          <p:nvPr/>
        </p:nvSpPr>
        <p:spPr>
          <a:xfrm>
            <a:off x="487010" y="4828008"/>
            <a:ext cx="1350974" cy="1426021"/>
          </a:xfrm>
          <a:prstGeom prst="rect">
            <a:avLst/>
          </a:prstGeom>
          <a:solidFill>
            <a:srgbClr val="96DCFA">
              <a:lumMod val="20000"/>
              <a:lumOff val="80000"/>
            </a:srgbClr>
          </a:solidFill>
          <a:ln>
            <a:noFill/>
          </a:ln>
        </p:spPr>
        <p:txBody>
          <a:bodyPr rot="0" spcFirstLastPara="0" vertOverflow="overflow" horzOverflow="overflow" vert="horz" wrap="square" lIns="0" tIns="0" rIns="0" bIns="21595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Betriebsgebiet</a:t>
            </a:r>
            <a:endParaRPr kumimoji="0" lang="en-GB" sz="1200" b="1" i="0" u="none" strike="noStrike" kern="0" cap="none" spc="0" normalizeH="0" baseline="0" noProof="0" dirty="0" smtClean="0">
              <a:ln>
                <a:noFill/>
              </a:ln>
              <a:solidFill>
                <a:srgbClr val="003781"/>
              </a:solidFill>
              <a:effectLst/>
              <a:uLnTx/>
              <a:uFillTx/>
            </a:endParaRPr>
          </a:p>
        </p:txBody>
      </p:sp>
      <p:cxnSp>
        <p:nvCxnSpPr>
          <p:cNvPr id="177" name="Straight Connector 11">
            <a:extLst>
              <a:ext uri="{FF2B5EF4-FFF2-40B4-BE49-F238E27FC236}">
                <a16:creationId xmlns:a16="http://schemas.microsoft.com/office/drawing/2014/main" id="{393B4CCF-F002-4DD6-A910-CD2EA18B53B4}"/>
              </a:ext>
            </a:extLst>
          </p:cNvPr>
          <p:cNvCxnSpPr>
            <a:cxnSpLocks/>
          </p:cNvCxnSpPr>
          <p:nvPr/>
        </p:nvCxnSpPr>
        <p:spPr>
          <a:xfrm>
            <a:off x="479811" y="1561945"/>
            <a:ext cx="90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178" name="Straight Connector 14">
            <a:extLst>
              <a:ext uri="{FF2B5EF4-FFF2-40B4-BE49-F238E27FC236}">
                <a16:creationId xmlns:a16="http://schemas.microsoft.com/office/drawing/2014/main" id="{00A483EA-D09D-4DA3-8D02-B4825F216EA1}"/>
              </a:ext>
            </a:extLst>
          </p:cNvPr>
          <p:cNvCxnSpPr>
            <a:cxnSpLocks/>
          </p:cNvCxnSpPr>
          <p:nvPr/>
        </p:nvCxnSpPr>
        <p:spPr>
          <a:xfrm>
            <a:off x="488202" y="3070613"/>
            <a:ext cx="90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179" name="Straight Connector 12">
            <a:extLst>
              <a:ext uri="{FF2B5EF4-FFF2-40B4-BE49-F238E27FC236}">
                <a16:creationId xmlns:a16="http://schemas.microsoft.com/office/drawing/2014/main" id="{62379708-BE20-4CD5-BCF5-9A39AB72D1F6}"/>
              </a:ext>
            </a:extLst>
          </p:cNvPr>
          <p:cNvCxnSpPr>
            <a:cxnSpLocks/>
          </p:cNvCxnSpPr>
          <p:nvPr/>
        </p:nvCxnSpPr>
        <p:spPr>
          <a:xfrm>
            <a:off x="488202" y="6254029"/>
            <a:ext cx="90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180" name="Straight Connector 12">
            <a:extLst>
              <a:ext uri="{FF2B5EF4-FFF2-40B4-BE49-F238E27FC236}">
                <a16:creationId xmlns:a16="http://schemas.microsoft.com/office/drawing/2014/main" id="{369AAFAC-2913-4937-82BF-FAD22A1AF614}"/>
              </a:ext>
            </a:extLst>
          </p:cNvPr>
          <p:cNvCxnSpPr>
            <a:cxnSpLocks/>
          </p:cNvCxnSpPr>
          <p:nvPr/>
        </p:nvCxnSpPr>
        <p:spPr>
          <a:xfrm flipV="1">
            <a:off x="479811" y="4733543"/>
            <a:ext cx="9000000" cy="42662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181" name="Connector: Elbow 35">
            <a:extLst>
              <a:ext uri="{FF2B5EF4-FFF2-40B4-BE49-F238E27FC236}">
                <a16:creationId xmlns:a16="http://schemas.microsoft.com/office/drawing/2014/main" id="{BCBBA6FC-A598-4F42-93D4-31A2E58815FC}"/>
              </a:ext>
            </a:extLst>
          </p:cNvPr>
          <p:cNvCxnSpPr>
            <a:cxnSpLocks/>
            <a:stCxn id="153" idx="2"/>
            <a:endCxn id="187" idx="0"/>
          </p:cNvCxnSpPr>
          <p:nvPr/>
        </p:nvCxnSpPr>
        <p:spPr>
          <a:xfrm>
            <a:off x="3534186" y="2577210"/>
            <a:ext cx="0" cy="635687"/>
          </a:xfrm>
          <a:prstGeom prst="straightConnector1">
            <a:avLst/>
          </a:prstGeom>
          <a:noFill/>
          <a:ln w="6350" cap="flat" cmpd="sng" algn="ctr">
            <a:solidFill>
              <a:srgbClr val="003781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82" name="Ellipse 181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2582245" y="1733395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1</a:t>
            </a:r>
          </a:p>
        </p:txBody>
      </p:sp>
      <p:cxnSp>
        <p:nvCxnSpPr>
          <p:cNvPr id="183" name="Straight Connector 68">
            <a:extLst>
              <a:ext uri="{FF2B5EF4-FFF2-40B4-BE49-F238E27FC236}">
                <a16:creationId xmlns:a16="http://schemas.microsoft.com/office/drawing/2014/main" id="{F9A41E6C-4A21-46E0-B2DE-7EBB3354F164}"/>
              </a:ext>
            </a:extLst>
          </p:cNvPr>
          <p:cNvCxnSpPr>
            <a:cxnSpLocks/>
          </p:cNvCxnSpPr>
          <p:nvPr/>
        </p:nvCxnSpPr>
        <p:spPr>
          <a:xfrm>
            <a:off x="1841121" y="1583004"/>
            <a:ext cx="676" cy="1460418"/>
          </a:xfrm>
          <a:prstGeom prst="line">
            <a:avLst/>
          </a:prstGeom>
          <a:noFill/>
          <a:ln w="28575" cap="flat" cmpd="sng" algn="ctr">
            <a:solidFill>
              <a:srgbClr val="003781"/>
            </a:solidFill>
            <a:prstDash val="solid"/>
          </a:ln>
          <a:effectLst/>
        </p:spPr>
      </p:cxnSp>
      <p:cxnSp>
        <p:nvCxnSpPr>
          <p:cNvPr id="184" name="Straight Connector 69">
            <a:extLst>
              <a:ext uri="{FF2B5EF4-FFF2-40B4-BE49-F238E27FC236}">
                <a16:creationId xmlns:a16="http://schemas.microsoft.com/office/drawing/2014/main" id="{80AF809E-EB80-483D-8237-B78A4470F427}"/>
              </a:ext>
            </a:extLst>
          </p:cNvPr>
          <p:cNvCxnSpPr>
            <a:cxnSpLocks/>
          </p:cNvCxnSpPr>
          <p:nvPr/>
        </p:nvCxnSpPr>
        <p:spPr>
          <a:xfrm flipH="1">
            <a:off x="1841121" y="3119734"/>
            <a:ext cx="637" cy="1620362"/>
          </a:xfrm>
          <a:prstGeom prst="line">
            <a:avLst/>
          </a:prstGeom>
          <a:noFill/>
          <a:ln w="28575" cap="flat" cmpd="sng" algn="ctr">
            <a:solidFill>
              <a:srgbClr val="003781"/>
            </a:solidFill>
            <a:prstDash val="solid"/>
          </a:ln>
          <a:effectLst/>
        </p:spPr>
      </p:cxnSp>
      <p:cxnSp>
        <p:nvCxnSpPr>
          <p:cNvPr id="185" name="Straight Connector 70">
            <a:extLst>
              <a:ext uri="{FF2B5EF4-FFF2-40B4-BE49-F238E27FC236}">
                <a16:creationId xmlns:a16="http://schemas.microsoft.com/office/drawing/2014/main" id="{05BC2DCF-4FB8-4A68-A4F1-8217A1284076}"/>
              </a:ext>
            </a:extLst>
          </p:cNvPr>
          <p:cNvCxnSpPr>
            <a:cxnSpLocks/>
          </p:cNvCxnSpPr>
          <p:nvPr/>
        </p:nvCxnSpPr>
        <p:spPr>
          <a:xfrm flipH="1">
            <a:off x="1837984" y="4819307"/>
            <a:ext cx="3813" cy="1434722"/>
          </a:xfrm>
          <a:prstGeom prst="line">
            <a:avLst/>
          </a:prstGeom>
          <a:noFill/>
          <a:ln w="28575" cap="flat" cmpd="sng" algn="ctr">
            <a:solidFill>
              <a:srgbClr val="003781"/>
            </a:solidFill>
            <a:prstDash val="solid"/>
          </a:ln>
          <a:effectLst/>
        </p:spPr>
      </p:cxnSp>
      <p:sp>
        <p:nvSpPr>
          <p:cNvPr id="186" name="Rectangle: Rounded Corners 15">
            <a:extLst>
              <a:ext uri="{FF2B5EF4-FFF2-40B4-BE49-F238E27FC236}">
                <a16:creationId xmlns:a16="http://schemas.microsoft.com/office/drawing/2014/main" id="{59C68FA3-382C-4296-8A8A-7134A4035563}"/>
              </a:ext>
            </a:extLst>
          </p:cNvPr>
          <p:cNvSpPr/>
          <p:nvPr/>
        </p:nvSpPr>
        <p:spPr>
          <a:xfrm>
            <a:off x="2661423" y="5167037"/>
            <a:ext cx="1745523" cy="996061"/>
          </a:xfrm>
          <a:prstGeom prst="roundRect">
            <a:avLst>
              <a:gd name="adj" fmla="val 7212"/>
            </a:avLst>
          </a:prstGeom>
          <a:noFill/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Vertragsprüfung + ggf. Vermittlerprüfung</a:t>
            </a:r>
          </a:p>
        </p:txBody>
      </p:sp>
      <p:sp>
        <p:nvSpPr>
          <p:cNvPr id="187" name="Rectangle: Rounded Corners 15">
            <a:extLst>
              <a:ext uri="{FF2B5EF4-FFF2-40B4-BE49-F238E27FC236}">
                <a16:creationId xmlns:a16="http://schemas.microsoft.com/office/drawing/2014/main" id="{E85DC375-03A0-446B-90C4-5EAA77994869}"/>
              </a:ext>
            </a:extLst>
          </p:cNvPr>
          <p:cNvSpPr/>
          <p:nvPr/>
        </p:nvSpPr>
        <p:spPr>
          <a:xfrm>
            <a:off x="2661424" y="3212897"/>
            <a:ext cx="1745523" cy="699169"/>
          </a:xfrm>
          <a:prstGeom prst="roundRect">
            <a:avLst>
              <a:gd name="adj" fmla="val 10136"/>
            </a:avLst>
          </a:prstGeom>
          <a:noFill/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Überprüfung Freischaltungsantrag</a:t>
            </a:r>
          </a:p>
        </p:txBody>
      </p:sp>
      <p:cxnSp>
        <p:nvCxnSpPr>
          <p:cNvPr id="188" name="Connector: Elbow 35">
            <a:extLst>
              <a:ext uri="{FF2B5EF4-FFF2-40B4-BE49-F238E27FC236}">
                <a16:creationId xmlns:a16="http://schemas.microsoft.com/office/drawing/2014/main" id="{BCBBA6FC-A598-4F42-93D4-31A2E58815FC}"/>
              </a:ext>
            </a:extLst>
          </p:cNvPr>
          <p:cNvCxnSpPr>
            <a:cxnSpLocks/>
            <a:stCxn id="152" idx="4"/>
          </p:cNvCxnSpPr>
          <p:nvPr/>
        </p:nvCxnSpPr>
        <p:spPr>
          <a:xfrm>
            <a:off x="3837606" y="4528715"/>
            <a:ext cx="9461" cy="763305"/>
          </a:xfrm>
          <a:prstGeom prst="straightConnector1">
            <a:avLst/>
          </a:prstGeom>
          <a:noFill/>
          <a:ln w="6350" cap="flat" cmpd="sng" algn="ctr">
            <a:solidFill>
              <a:srgbClr val="003781"/>
            </a:solidFill>
            <a:prstDash val="solid"/>
            <a:headEnd type="none"/>
            <a:tailEnd type="triangle"/>
          </a:ln>
          <a:effectLst/>
        </p:spPr>
      </p:cxnSp>
      <p:pic>
        <p:nvPicPr>
          <p:cNvPr id="189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971" y="4905441"/>
            <a:ext cx="224191" cy="159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0" name="Rectangle: Rounded Corners 15">
            <a:extLst>
              <a:ext uri="{FF2B5EF4-FFF2-40B4-BE49-F238E27FC236}">
                <a16:creationId xmlns:a16="http://schemas.microsoft.com/office/drawing/2014/main" id="{59C68FA3-382C-4296-8A8A-7134A4035563}"/>
              </a:ext>
            </a:extLst>
          </p:cNvPr>
          <p:cNvSpPr/>
          <p:nvPr/>
        </p:nvSpPr>
        <p:spPr>
          <a:xfrm>
            <a:off x="5607803" y="5167037"/>
            <a:ext cx="1641220" cy="981509"/>
          </a:xfrm>
          <a:prstGeom prst="roundRect">
            <a:avLst>
              <a:gd name="adj" fmla="val 7212"/>
            </a:avLst>
          </a:prstGeom>
          <a:noFill/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Prüfbeleg</a:t>
            </a:r>
          </a:p>
        </p:txBody>
      </p:sp>
      <p:sp>
        <p:nvSpPr>
          <p:cNvPr id="191" name="Rectangle: Rounded Corners 15">
            <a:extLst>
              <a:ext uri="{FF2B5EF4-FFF2-40B4-BE49-F238E27FC236}">
                <a16:creationId xmlns:a16="http://schemas.microsoft.com/office/drawing/2014/main" id="{E85DC375-03A0-446B-90C4-5EAA77994869}"/>
              </a:ext>
            </a:extLst>
          </p:cNvPr>
          <p:cNvSpPr/>
          <p:nvPr/>
        </p:nvSpPr>
        <p:spPr>
          <a:xfrm>
            <a:off x="5573050" y="3205958"/>
            <a:ext cx="1659639" cy="699169"/>
          </a:xfrm>
          <a:prstGeom prst="roundRect">
            <a:avLst>
              <a:gd name="adj" fmla="val 10136"/>
            </a:avLst>
          </a:prstGeom>
          <a:noFill/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Weitere Bearbeitung des Antrags</a:t>
            </a:r>
          </a:p>
        </p:txBody>
      </p:sp>
      <p:cxnSp>
        <p:nvCxnSpPr>
          <p:cNvPr id="192" name="Connector: Elbow 35">
            <a:extLst>
              <a:ext uri="{FF2B5EF4-FFF2-40B4-BE49-F238E27FC236}">
                <a16:creationId xmlns:a16="http://schemas.microsoft.com/office/drawing/2014/main" id="{BCBBA6FC-A598-4F42-93D4-31A2E58815FC}"/>
              </a:ext>
            </a:extLst>
          </p:cNvPr>
          <p:cNvCxnSpPr>
            <a:cxnSpLocks/>
            <a:endCxn id="191" idx="2"/>
          </p:cNvCxnSpPr>
          <p:nvPr/>
        </p:nvCxnSpPr>
        <p:spPr>
          <a:xfrm flipH="1" flipV="1">
            <a:off x="6402870" y="3905127"/>
            <a:ext cx="9209" cy="1261910"/>
          </a:xfrm>
          <a:prstGeom prst="straightConnector1">
            <a:avLst/>
          </a:prstGeom>
          <a:noFill/>
          <a:ln w="6350" cap="flat" cmpd="sng" algn="ctr">
            <a:solidFill>
              <a:srgbClr val="003781"/>
            </a:solidFill>
            <a:prstDash val="solid"/>
            <a:headEnd type="none"/>
            <a:tailEnd type="triangle"/>
          </a:ln>
          <a:effectLst/>
        </p:spPr>
      </p:cxnSp>
      <p:cxnSp>
        <p:nvCxnSpPr>
          <p:cNvPr id="193" name="Connector: Elbow 35">
            <a:extLst>
              <a:ext uri="{FF2B5EF4-FFF2-40B4-BE49-F238E27FC236}">
                <a16:creationId xmlns:a16="http://schemas.microsoft.com/office/drawing/2014/main" id="{BCBBA6FC-A598-4F42-93D4-31A2E58815FC}"/>
              </a:ext>
            </a:extLst>
          </p:cNvPr>
          <p:cNvCxnSpPr>
            <a:cxnSpLocks/>
            <a:stCxn id="186" idx="3"/>
          </p:cNvCxnSpPr>
          <p:nvPr/>
        </p:nvCxnSpPr>
        <p:spPr>
          <a:xfrm flipV="1">
            <a:off x="4406946" y="5657792"/>
            <a:ext cx="1184523" cy="7276"/>
          </a:xfrm>
          <a:prstGeom prst="straightConnector1">
            <a:avLst/>
          </a:prstGeom>
          <a:noFill/>
          <a:ln w="6350" cap="flat" cmpd="sng" algn="ctr">
            <a:solidFill>
              <a:srgbClr val="003781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194" name="Rectangle: Rounded Corners 15">
            <a:extLst>
              <a:ext uri="{FF2B5EF4-FFF2-40B4-BE49-F238E27FC236}">
                <a16:creationId xmlns:a16="http://schemas.microsoft.com/office/drawing/2014/main" id="{E85DC375-03A0-446B-90C4-5EAA77994869}"/>
              </a:ext>
            </a:extLst>
          </p:cNvPr>
          <p:cNvSpPr/>
          <p:nvPr/>
        </p:nvSpPr>
        <p:spPr>
          <a:xfrm>
            <a:off x="5573050" y="1808783"/>
            <a:ext cx="1659639" cy="741744"/>
          </a:xfrm>
          <a:prstGeom prst="roundRect">
            <a:avLst>
              <a:gd name="adj" fmla="val 10136"/>
            </a:avLst>
          </a:prstGeom>
          <a:noFill/>
          <a:ln w="3175">
            <a:solidFill>
              <a:srgbClr val="003781"/>
            </a:solidFill>
          </a:ln>
        </p:spPr>
        <p:txBody>
          <a:bodyPr rot="0" spcFirstLastPara="0" vertOverflow="overflow" horzOverflow="overflow" vert="horz" wrap="square" lIns="35992" tIns="53988" rIns="35992" bIns="539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</a:rPr>
              <a:t>Begrüßungsmail + Zugangsdaten per Post oder SMS</a:t>
            </a:r>
          </a:p>
        </p:txBody>
      </p:sp>
      <p:pic>
        <p:nvPicPr>
          <p:cNvPr id="195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877" y="2423846"/>
            <a:ext cx="224191" cy="159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6" name="Gruppieren 195">
            <a:extLst>
              <a:ext uri="{FF2B5EF4-FFF2-40B4-BE49-F238E27FC236}">
                <a16:creationId xmlns:a16="http://schemas.microsoft.com/office/drawing/2014/main" id="{7EF6F0C3-4511-46B9-BBD9-7F930B3F3CDF}"/>
              </a:ext>
            </a:extLst>
          </p:cNvPr>
          <p:cNvGrpSpPr/>
          <p:nvPr/>
        </p:nvGrpSpPr>
        <p:grpSpPr>
          <a:xfrm>
            <a:off x="4359613" y="2517549"/>
            <a:ext cx="111028" cy="184308"/>
            <a:chOff x="5999870" y="3679509"/>
            <a:chExt cx="129907" cy="155519"/>
          </a:xfrm>
        </p:grpSpPr>
        <p:sp>
          <p:nvSpPr>
            <p:cNvPr id="197" name="Rechteck 196">
              <a:extLst>
                <a:ext uri="{FF2B5EF4-FFF2-40B4-BE49-F238E27FC236}">
                  <a16:creationId xmlns:a16="http://schemas.microsoft.com/office/drawing/2014/main" id="{5312761D-1400-4F3D-BF14-74E27816E39B}"/>
                </a:ext>
              </a:extLst>
            </p:cNvPr>
            <p:cNvSpPr/>
            <p:nvPr/>
          </p:nvSpPr>
          <p:spPr>
            <a:xfrm>
              <a:off x="5999870" y="3679509"/>
              <a:ext cx="129907" cy="155519"/>
            </a:xfrm>
            <a:prstGeom prst="rect">
              <a:avLst/>
            </a:prstGeom>
            <a:pattFill prst="dkUpDiag">
              <a:fgClr>
                <a:srgbClr val="FFE8B0"/>
              </a:fgClr>
              <a:bgClr>
                <a:srgbClr val="FFFFFF"/>
              </a:bgClr>
            </a:pattFill>
            <a:ln>
              <a:solidFill>
                <a:srgbClr val="003781"/>
              </a:solidFill>
            </a:ln>
          </p:spPr>
          <p:txBody>
  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98" name="Gerader Verbinder 275">
              <a:extLst>
                <a:ext uri="{FF2B5EF4-FFF2-40B4-BE49-F238E27FC236}">
                  <a16:creationId xmlns:a16="http://schemas.microsoft.com/office/drawing/2014/main" id="{EDF99C10-B30E-47DB-A00D-81BD5A88E53E}"/>
                </a:ext>
              </a:extLst>
            </p:cNvPr>
            <p:cNvCxnSpPr>
              <a:cxnSpLocks/>
            </p:cNvCxnSpPr>
            <p:nvPr/>
          </p:nvCxnSpPr>
          <p:spPr>
            <a:xfrm>
              <a:off x="6024492" y="3707535"/>
              <a:ext cx="80662" cy="0"/>
            </a:xfrm>
            <a:prstGeom prst="line">
              <a:avLst/>
            </a:prstGeom>
            <a:solidFill>
              <a:srgbClr val="FFFFFF"/>
            </a:solidFill>
            <a:ln>
              <a:solidFill>
                <a:srgbClr val="003781"/>
              </a:solidFill>
            </a:ln>
          </p:spPr>
        </p:cxnSp>
        <p:cxnSp>
          <p:nvCxnSpPr>
            <p:cNvPr id="199" name="Gerader Verbinder 276">
              <a:extLst>
                <a:ext uri="{FF2B5EF4-FFF2-40B4-BE49-F238E27FC236}">
                  <a16:creationId xmlns:a16="http://schemas.microsoft.com/office/drawing/2014/main" id="{E329A56D-639C-41A1-9D42-44B1EAFC47C9}"/>
                </a:ext>
              </a:extLst>
            </p:cNvPr>
            <p:cNvCxnSpPr>
              <a:cxnSpLocks/>
            </p:cNvCxnSpPr>
            <p:nvPr/>
          </p:nvCxnSpPr>
          <p:spPr>
            <a:xfrm>
              <a:off x="6024492" y="3726585"/>
              <a:ext cx="80662" cy="0"/>
            </a:xfrm>
            <a:prstGeom prst="line">
              <a:avLst/>
            </a:prstGeom>
            <a:solidFill>
              <a:srgbClr val="FFFFFF"/>
            </a:solidFill>
            <a:ln>
              <a:solidFill>
                <a:srgbClr val="003781"/>
              </a:solidFill>
            </a:ln>
          </p:spPr>
        </p:cxnSp>
        <p:cxnSp>
          <p:nvCxnSpPr>
            <p:cNvPr id="200" name="Gerader Verbinder 277">
              <a:extLst>
                <a:ext uri="{FF2B5EF4-FFF2-40B4-BE49-F238E27FC236}">
                  <a16:creationId xmlns:a16="http://schemas.microsoft.com/office/drawing/2014/main" id="{D708320E-E89D-417B-9655-AB94FFBA1EDF}"/>
                </a:ext>
              </a:extLst>
            </p:cNvPr>
            <p:cNvCxnSpPr>
              <a:cxnSpLocks/>
            </p:cNvCxnSpPr>
            <p:nvPr/>
          </p:nvCxnSpPr>
          <p:spPr>
            <a:xfrm>
              <a:off x="6024492" y="3745635"/>
              <a:ext cx="80662" cy="0"/>
            </a:xfrm>
            <a:prstGeom prst="line">
              <a:avLst/>
            </a:prstGeom>
            <a:solidFill>
              <a:srgbClr val="FFFFFF"/>
            </a:solidFill>
            <a:ln>
              <a:solidFill>
                <a:srgbClr val="003781"/>
              </a:solidFill>
            </a:ln>
          </p:spPr>
        </p:cxnSp>
        <p:cxnSp>
          <p:nvCxnSpPr>
            <p:cNvPr id="201" name="Gerader Verbinder 279">
              <a:extLst>
                <a:ext uri="{FF2B5EF4-FFF2-40B4-BE49-F238E27FC236}">
                  <a16:creationId xmlns:a16="http://schemas.microsoft.com/office/drawing/2014/main" id="{4C214AA1-0E20-4535-BBFE-295802CC1206}"/>
                </a:ext>
              </a:extLst>
            </p:cNvPr>
            <p:cNvCxnSpPr>
              <a:cxnSpLocks/>
            </p:cNvCxnSpPr>
            <p:nvPr/>
          </p:nvCxnSpPr>
          <p:spPr>
            <a:xfrm>
              <a:off x="6024492" y="3764684"/>
              <a:ext cx="36000" cy="0"/>
            </a:xfrm>
            <a:prstGeom prst="line">
              <a:avLst/>
            </a:prstGeom>
            <a:solidFill>
              <a:srgbClr val="FFFFFF"/>
            </a:solidFill>
            <a:ln>
              <a:solidFill>
                <a:srgbClr val="003781"/>
              </a:solidFill>
            </a:ln>
          </p:spPr>
        </p:cxnSp>
        <p:sp>
          <p:nvSpPr>
            <p:cNvPr id="202" name="Kreuz 201">
              <a:extLst>
                <a:ext uri="{FF2B5EF4-FFF2-40B4-BE49-F238E27FC236}">
                  <a16:creationId xmlns:a16="http://schemas.microsoft.com/office/drawing/2014/main" id="{072D52D7-034B-4608-8921-C40160E1BB14}"/>
                </a:ext>
              </a:extLst>
            </p:cNvPr>
            <p:cNvSpPr/>
            <p:nvPr/>
          </p:nvSpPr>
          <p:spPr>
            <a:xfrm rot="2664252">
              <a:off x="6024491" y="3784899"/>
              <a:ext cx="36000" cy="36000"/>
            </a:xfrm>
            <a:prstGeom prst="plus">
              <a:avLst>
                <a:gd name="adj" fmla="val 39700"/>
              </a:avLst>
            </a:prstGeom>
            <a:solidFill>
              <a:srgbClr val="003781"/>
            </a:solidFill>
            <a:ln>
              <a:noFill/>
            </a:ln>
          </p:spPr>
          <p:txBody>
            <a:bodyPr rot="0" spcFirstLastPara="0" vertOverflow="overflow" horzOverflow="overflow" vert="horz" wrap="square" lIns="107975" tIns="107975" rIns="107975" bIns="10797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1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203" name="Gerader Verbinder 282">
              <a:extLst>
                <a:ext uri="{FF2B5EF4-FFF2-40B4-BE49-F238E27FC236}">
                  <a16:creationId xmlns:a16="http://schemas.microsoft.com/office/drawing/2014/main" id="{46721712-1664-48C3-B5C1-2598C0CF1704}"/>
                </a:ext>
              </a:extLst>
            </p:cNvPr>
            <p:cNvCxnSpPr>
              <a:cxnSpLocks/>
            </p:cNvCxnSpPr>
            <p:nvPr/>
          </p:nvCxnSpPr>
          <p:spPr>
            <a:xfrm>
              <a:off x="6069154" y="3802899"/>
              <a:ext cx="36000" cy="0"/>
            </a:xfrm>
            <a:prstGeom prst="line">
              <a:avLst/>
            </a:prstGeom>
            <a:solidFill>
              <a:srgbClr val="FFFFFF"/>
            </a:solidFill>
            <a:ln>
              <a:solidFill>
                <a:srgbClr val="003781"/>
              </a:solidFill>
            </a:ln>
          </p:spPr>
        </p:cxnSp>
      </p:grpSp>
      <p:cxnSp>
        <p:nvCxnSpPr>
          <p:cNvPr id="204" name="Gewinkelte Verbindung 19"/>
          <p:cNvCxnSpPr>
            <a:endCxn id="191" idx="1"/>
          </p:cNvCxnSpPr>
          <p:nvPr/>
        </p:nvCxnSpPr>
        <p:spPr>
          <a:xfrm flipV="1">
            <a:off x="4639731" y="3555543"/>
            <a:ext cx="933319" cy="768511"/>
          </a:xfrm>
          <a:prstGeom prst="bentConnector3">
            <a:avLst/>
          </a:prstGeom>
          <a:noFill/>
          <a:ln w="38100" cap="flat" cmpd="sng" algn="ctr">
            <a:solidFill>
              <a:srgbClr val="96DCFA"/>
            </a:solidFill>
            <a:prstDash val="solid"/>
            <a:tailEnd type="triangle"/>
          </a:ln>
          <a:effectLst/>
        </p:spPr>
      </p:cxnSp>
      <p:sp>
        <p:nvSpPr>
          <p:cNvPr id="205" name="Textfeld 204"/>
          <p:cNvSpPr txBox="1"/>
          <p:nvPr/>
        </p:nvSpPr>
        <p:spPr>
          <a:xfrm>
            <a:off x="4720852" y="4026801"/>
            <a:ext cx="340938" cy="330038"/>
          </a:xfrm>
          <a:prstGeom prst="rect">
            <a:avLst/>
          </a:prstGeom>
          <a:ln w="12700" cmpd="sng">
            <a:noFill/>
          </a:ln>
        </p:spPr>
        <p:txBody>
          <a:bodyPr vert="horz" wrap="none" lIns="71983" tIns="71983" rIns="71983" bIns="71983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96DCFA"/>
                </a:solidFill>
                <a:effectLst/>
                <a:uLnTx/>
                <a:uFillTx/>
              </a:rPr>
              <a:t>JA</a:t>
            </a:r>
          </a:p>
        </p:txBody>
      </p:sp>
      <p:sp>
        <p:nvSpPr>
          <p:cNvPr id="206" name="Textfeld 205"/>
          <p:cNvSpPr txBox="1"/>
          <p:nvPr/>
        </p:nvSpPr>
        <p:spPr>
          <a:xfrm>
            <a:off x="3386281" y="4512722"/>
            <a:ext cx="467576" cy="306955"/>
          </a:xfrm>
          <a:prstGeom prst="rect">
            <a:avLst/>
          </a:prstGeom>
        </p:spPr>
        <p:txBody>
          <a:bodyPr vert="horz" wrap="none" lIns="71983" tIns="71983" rIns="71983" bIns="71983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96DCFA"/>
                </a:solidFill>
                <a:effectLst/>
                <a:uLnTx/>
                <a:uFillTx/>
              </a:rPr>
              <a:t>NEIN</a:t>
            </a:r>
            <a:endParaRPr kumimoji="0" lang="de-DE" sz="2000" b="1" i="0" u="none" strike="noStrike" kern="0" cap="none" spc="0" normalizeH="0" baseline="0" noProof="0" dirty="0" smtClean="0">
              <a:ln>
                <a:noFill/>
              </a:ln>
              <a:solidFill>
                <a:srgbClr val="96DCFA"/>
              </a:solidFill>
              <a:effectLst/>
              <a:uLnTx/>
              <a:uFillTx/>
            </a:endParaRPr>
          </a:p>
        </p:txBody>
      </p:sp>
      <p:sp>
        <p:nvSpPr>
          <p:cNvPr id="207" name="Ellipse 206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2604305" y="3143690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2</a:t>
            </a:r>
          </a:p>
        </p:txBody>
      </p:sp>
      <p:sp>
        <p:nvSpPr>
          <p:cNvPr id="208" name="Ellipse 207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2582762" y="5123566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</a:t>
            </a:r>
          </a:p>
        </p:txBody>
      </p:sp>
      <p:sp>
        <p:nvSpPr>
          <p:cNvPr id="209" name="Ellipse 208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5509356" y="1716173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</a:t>
            </a:r>
          </a:p>
        </p:txBody>
      </p:sp>
      <p:sp>
        <p:nvSpPr>
          <p:cNvPr id="210" name="Ellipse 209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5591469" y="3135361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5</a:t>
            </a:r>
          </a:p>
        </p:txBody>
      </p:sp>
      <p:sp>
        <p:nvSpPr>
          <p:cNvPr id="211" name="Ellipse 210">
            <a:extLst>
              <a:ext uri="{FF2B5EF4-FFF2-40B4-BE49-F238E27FC236}">
                <a16:creationId xmlns:a16="http://schemas.microsoft.com/office/drawing/2014/main" id="{AF670B9D-9C04-427A-AD88-7E630FD3B2F0}"/>
              </a:ext>
            </a:extLst>
          </p:cNvPr>
          <p:cNvSpPr/>
          <p:nvPr/>
        </p:nvSpPr>
        <p:spPr>
          <a:xfrm>
            <a:off x="5505999" y="5109309"/>
            <a:ext cx="208412" cy="192662"/>
          </a:xfrm>
          <a:prstGeom prst="ellipse">
            <a:avLst/>
          </a:prstGeom>
          <a:solidFill>
            <a:srgbClr val="003781"/>
          </a:solidFill>
          <a:ln w="19050">
            <a:solidFill>
              <a:srgbClr val="FFFFFF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6</a:t>
            </a:r>
          </a:p>
        </p:txBody>
      </p:sp>
      <p:cxnSp>
        <p:nvCxnSpPr>
          <p:cNvPr id="213" name="Connector: Elbow 35">
            <a:extLst>
              <a:ext uri="{FF2B5EF4-FFF2-40B4-BE49-F238E27FC236}">
                <a16:creationId xmlns:a16="http://schemas.microsoft.com/office/drawing/2014/main" id="{BCBBA6FC-A598-4F42-93D4-31A2E58815FC}"/>
              </a:ext>
            </a:extLst>
          </p:cNvPr>
          <p:cNvCxnSpPr>
            <a:cxnSpLocks/>
            <a:endCxn id="194" idx="2"/>
          </p:cNvCxnSpPr>
          <p:nvPr/>
        </p:nvCxnSpPr>
        <p:spPr>
          <a:xfrm flipV="1">
            <a:off x="6395969" y="2550527"/>
            <a:ext cx="6901" cy="635820"/>
          </a:xfrm>
          <a:prstGeom prst="straightConnector1">
            <a:avLst/>
          </a:prstGeom>
          <a:noFill/>
          <a:ln w="6350" cap="flat" cmpd="sng" algn="ctr">
            <a:solidFill>
              <a:srgbClr val="003781"/>
            </a:solidFill>
            <a:prstDash val="solid"/>
            <a:headEnd type="none"/>
            <a:tailEnd type="triangle"/>
          </a:ln>
          <a:effectLst/>
        </p:spPr>
      </p:cxnSp>
      <p:sp>
        <p:nvSpPr>
          <p:cNvPr id="214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 txBox="1">
            <a:spLocks/>
          </p:cNvSpPr>
          <p:nvPr/>
        </p:nvSpPr>
        <p:spPr>
          <a:xfrm>
            <a:off x="479424" y="476250"/>
            <a:ext cx="9324973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52" marR="0" indent="-179352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394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14" indent="-237014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5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39" indent="-122739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00" b="1" i="0" u="none" strike="noStrike" kern="1200" cap="all" spc="63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ischaltung für das arbeitgeber-portal</a:t>
            </a:r>
            <a:endParaRPr kumimoji="0" lang="de-DE" sz="1100" b="1" i="0" u="none" strike="noStrike" kern="1200" cap="all" spc="63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Foliennummernplatzhalter 12">
            <a:extLst>
              <a:ext uri="{FF2B5EF4-FFF2-40B4-BE49-F238E27FC236}">
                <a16:creationId xmlns:a16="http://schemas.microsoft.com/office/drawing/2014/main" id="{E2C24F9D-9679-4584-AB89-DDF35E96D2FA}"/>
              </a:ext>
            </a:extLst>
          </p:cNvPr>
          <p:cNvSpPr txBox="1">
            <a:spLocks/>
          </p:cNvSpPr>
          <p:nvPr/>
        </p:nvSpPr>
        <p:spPr>
          <a:xfrm>
            <a:off x="11443580" y="6372000"/>
            <a:ext cx="268995" cy="144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marL="0" algn="r" defTabSz="914205" rtl="0" eaLnBrk="1" latinLnBrk="0" hangingPunct="1">
              <a:defRPr sz="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2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05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08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10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11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14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16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19" algn="l" defTabSz="914205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C449F3-BD9D-48DC-BFF1-0F66671DA7C6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2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6" name="Titel 4">
            <a:extLst>
              <a:ext uri="{FF2B5EF4-FFF2-40B4-BE49-F238E27FC236}">
                <a16:creationId xmlns:a16="http://schemas.microsoft.com/office/drawing/2014/main" id="{0B3FFA01-208A-4221-A526-08D7C9637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6" y="875309"/>
            <a:ext cx="10112374" cy="709652"/>
          </a:xfrm>
        </p:spPr>
        <p:txBody>
          <a:bodyPr/>
          <a:lstStyle/>
          <a:p>
            <a:r>
              <a:rPr lang="de-DE" dirty="0" smtClean="0"/>
              <a:t>Die Beteiligten beim Freischaltungsprozess</a:t>
            </a:r>
            <a:endParaRPr lang="de-DE" dirty="0">
              <a:solidFill>
                <a:srgbClr val="13A0D3"/>
              </a:solidFill>
            </a:endParaRPr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8A1E545-B435-4D56-BFE6-6243CD43D5A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35684" y="1863760"/>
            <a:ext cx="613912" cy="614345"/>
            <a:chOff x="6444932" y="2528192"/>
            <a:chExt cx="328296" cy="328528"/>
          </a:xfrm>
          <a:solidFill>
            <a:schemeClr val="bg1"/>
          </a:solidFill>
        </p:grpSpPr>
        <p:sp>
          <p:nvSpPr>
            <p:cNvPr id="66" name="Freihandform 1419">
              <a:extLst>
                <a:ext uri="{FF2B5EF4-FFF2-40B4-BE49-F238E27FC236}">
                  <a16:creationId xmlns:a16="http://schemas.microsoft.com/office/drawing/2014/main" id="{DF470671-4DBE-4B33-A1CA-E73A225D98D7}"/>
                </a:ext>
              </a:extLst>
            </p:cNvPr>
            <p:cNvSpPr/>
            <p:nvPr/>
          </p:nvSpPr>
          <p:spPr>
            <a:xfrm>
              <a:off x="6444932" y="2528192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7" name="Freihandform 1420">
              <a:extLst>
                <a:ext uri="{FF2B5EF4-FFF2-40B4-BE49-F238E27FC236}">
                  <a16:creationId xmlns:a16="http://schemas.microsoft.com/office/drawing/2014/main" id="{D6B6AEBA-7362-4D66-805E-A68927DC263F}"/>
                </a:ext>
              </a:extLst>
            </p:cNvPr>
            <p:cNvSpPr/>
            <p:nvPr/>
          </p:nvSpPr>
          <p:spPr>
            <a:xfrm>
              <a:off x="6568100" y="2602233"/>
              <a:ext cx="81958" cy="8195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3" h="353">
                  <a:moveTo>
                    <a:pt x="175" y="36"/>
                  </a:moveTo>
                  <a:cubicBezTo>
                    <a:pt x="254" y="36"/>
                    <a:pt x="317" y="99"/>
                    <a:pt x="317" y="175"/>
                  </a:cubicBezTo>
                  <a:cubicBezTo>
                    <a:pt x="317" y="254"/>
                    <a:pt x="254" y="317"/>
                    <a:pt x="175" y="317"/>
                  </a:cubicBezTo>
                  <a:cubicBezTo>
                    <a:pt x="99" y="317"/>
                    <a:pt x="36" y="254"/>
                    <a:pt x="36" y="175"/>
                  </a:cubicBezTo>
                  <a:cubicBezTo>
                    <a:pt x="36" y="99"/>
                    <a:pt x="99" y="36"/>
                    <a:pt x="175" y="36"/>
                  </a:cubicBezTo>
                  <a:close/>
                  <a:moveTo>
                    <a:pt x="175" y="353"/>
                  </a:moveTo>
                  <a:cubicBezTo>
                    <a:pt x="273" y="353"/>
                    <a:pt x="353" y="273"/>
                    <a:pt x="353" y="175"/>
                  </a:cubicBezTo>
                  <a:cubicBezTo>
                    <a:pt x="353" y="78"/>
                    <a:pt x="273" y="0"/>
                    <a:pt x="175" y="0"/>
                  </a:cubicBezTo>
                  <a:cubicBezTo>
                    <a:pt x="78" y="0"/>
                    <a:pt x="0" y="78"/>
                    <a:pt x="0" y="175"/>
                  </a:cubicBezTo>
                  <a:cubicBezTo>
                    <a:pt x="0" y="273"/>
                    <a:pt x="78" y="353"/>
                    <a:pt x="175" y="353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8" name="Freihandform 1421">
              <a:extLst>
                <a:ext uri="{FF2B5EF4-FFF2-40B4-BE49-F238E27FC236}">
                  <a16:creationId xmlns:a16="http://schemas.microsoft.com/office/drawing/2014/main" id="{1203F02B-A35D-4F66-B553-AC6A1C85B9CB}"/>
                </a:ext>
              </a:extLst>
            </p:cNvPr>
            <p:cNvSpPr/>
            <p:nvPr/>
          </p:nvSpPr>
          <p:spPr>
            <a:xfrm>
              <a:off x="6535038" y="2692341"/>
              <a:ext cx="147617" cy="9034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5" h="389">
                  <a:moveTo>
                    <a:pt x="476" y="0"/>
                  </a:moveTo>
                  <a:lnTo>
                    <a:pt x="159" y="0"/>
                  </a:lnTo>
                  <a:cubicBezTo>
                    <a:pt x="72" y="0"/>
                    <a:pt x="0" y="72"/>
                    <a:pt x="0" y="159"/>
                  </a:cubicBezTo>
                  <a:lnTo>
                    <a:pt x="0" y="370"/>
                  </a:lnTo>
                  <a:cubicBezTo>
                    <a:pt x="0" y="381"/>
                    <a:pt x="8" y="389"/>
                    <a:pt x="19" y="389"/>
                  </a:cubicBezTo>
                  <a:cubicBezTo>
                    <a:pt x="27" y="389"/>
                    <a:pt x="36" y="381"/>
                    <a:pt x="36" y="370"/>
                  </a:cubicBezTo>
                  <a:lnTo>
                    <a:pt x="36" y="159"/>
                  </a:lnTo>
                  <a:cubicBezTo>
                    <a:pt x="36" y="91"/>
                    <a:pt x="91" y="36"/>
                    <a:pt x="159" y="36"/>
                  </a:cubicBezTo>
                  <a:lnTo>
                    <a:pt x="476" y="36"/>
                  </a:lnTo>
                  <a:cubicBezTo>
                    <a:pt x="544" y="36"/>
                    <a:pt x="601" y="91"/>
                    <a:pt x="601" y="159"/>
                  </a:cubicBezTo>
                  <a:lnTo>
                    <a:pt x="601" y="370"/>
                  </a:lnTo>
                  <a:cubicBezTo>
                    <a:pt x="601" y="381"/>
                    <a:pt x="607" y="389"/>
                    <a:pt x="618" y="389"/>
                  </a:cubicBezTo>
                  <a:cubicBezTo>
                    <a:pt x="629" y="389"/>
                    <a:pt x="635" y="381"/>
                    <a:pt x="635" y="370"/>
                  </a:cubicBezTo>
                  <a:lnTo>
                    <a:pt x="635" y="159"/>
                  </a:lnTo>
                  <a:cubicBezTo>
                    <a:pt x="635" y="72"/>
                    <a:pt x="565" y="0"/>
                    <a:pt x="47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69" name="Gruppieren 68">
            <a:extLst>
              <a:ext uri="{FF2B5EF4-FFF2-40B4-BE49-F238E27FC236}">
                <a16:creationId xmlns:a16="http://schemas.microsoft.com/office/drawing/2014/main" id="{7345A3F2-BB54-4EFB-B6D2-297E30B9ABA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30944" y="3378841"/>
            <a:ext cx="622517" cy="622956"/>
            <a:chOff x="5557835" y="2084643"/>
            <a:chExt cx="328296" cy="328528"/>
          </a:xfrm>
          <a:solidFill>
            <a:schemeClr val="bg1"/>
          </a:solidFill>
        </p:grpSpPr>
        <p:sp>
          <p:nvSpPr>
            <p:cNvPr id="70" name="Freihandform 1092">
              <a:extLst>
                <a:ext uri="{FF2B5EF4-FFF2-40B4-BE49-F238E27FC236}">
                  <a16:creationId xmlns:a16="http://schemas.microsoft.com/office/drawing/2014/main" id="{12340737-F514-46A9-AEFB-525B46F3D356}"/>
                </a:ext>
              </a:extLst>
            </p:cNvPr>
            <p:cNvSpPr/>
            <p:nvPr/>
          </p:nvSpPr>
          <p:spPr>
            <a:xfrm>
              <a:off x="5557835" y="2084643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1" name="Freihandform 1093">
              <a:extLst>
                <a:ext uri="{FF2B5EF4-FFF2-40B4-BE49-F238E27FC236}">
                  <a16:creationId xmlns:a16="http://schemas.microsoft.com/office/drawing/2014/main" id="{872C011F-6FB3-484D-A086-F0057778B5E3}"/>
                </a:ext>
              </a:extLst>
            </p:cNvPr>
            <p:cNvSpPr/>
            <p:nvPr/>
          </p:nvSpPr>
          <p:spPr>
            <a:xfrm>
              <a:off x="5623261" y="2150302"/>
              <a:ext cx="196977" cy="196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847" h="846">
                  <a:moveTo>
                    <a:pt x="813" y="489"/>
                  </a:moveTo>
                  <a:cubicBezTo>
                    <a:pt x="813" y="520"/>
                    <a:pt x="785" y="548"/>
                    <a:pt x="754" y="548"/>
                  </a:cubicBezTo>
                  <a:lnTo>
                    <a:pt x="705" y="548"/>
                  </a:lnTo>
                  <a:lnTo>
                    <a:pt x="705" y="268"/>
                  </a:lnTo>
                  <a:lnTo>
                    <a:pt x="754" y="268"/>
                  </a:lnTo>
                  <a:cubicBezTo>
                    <a:pt x="785" y="268"/>
                    <a:pt x="813" y="294"/>
                    <a:pt x="813" y="326"/>
                  </a:cubicBezTo>
                  <a:close/>
                  <a:moveTo>
                    <a:pt x="424" y="812"/>
                  </a:moveTo>
                  <a:cubicBezTo>
                    <a:pt x="404" y="812"/>
                    <a:pt x="390" y="795"/>
                    <a:pt x="390" y="776"/>
                  </a:cubicBezTo>
                  <a:cubicBezTo>
                    <a:pt x="390" y="757"/>
                    <a:pt x="404" y="740"/>
                    <a:pt x="424" y="740"/>
                  </a:cubicBezTo>
                  <a:cubicBezTo>
                    <a:pt x="445" y="740"/>
                    <a:pt x="460" y="757"/>
                    <a:pt x="460" y="776"/>
                  </a:cubicBezTo>
                  <a:cubicBezTo>
                    <a:pt x="460" y="795"/>
                    <a:pt x="445" y="812"/>
                    <a:pt x="424" y="812"/>
                  </a:cubicBezTo>
                  <a:close/>
                  <a:moveTo>
                    <a:pt x="144" y="548"/>
                  </a:moveTo>
                  <a:lnTo>
                    <a:pt x="95" y="548"/>
                  </a:lnTo>
                  <a:cubicBezTo>
                    <a:pt x="62" y="548"/>
                    <a:pt x="36" y="520"/>
                    <a:pt x="36" y="489"/>
                  </a:cubicBezTo>
                  <a:lnTo>
                    <a:pt x="36" y="326"/>
                  </a:lnTo>
                  <a:cubicBezTo>
                    <a:pt x="36" y="294"/>
                    <a:pt x="62" y="268"/>
                    <a:pt x="95" y="268"/>
                  </a:cubicBezTo>
                  <a:lnTo>
                    <a:pt x="144" y="268"/>
                  </a:lnTo>
                  <a:close/>
                  <a:moveTo>
                    <a:pt x="754" y="232"/>
                  </a:moveTo>
                  <a:lnTo>
                    <a:pt x="703" y="232"/>
                  </a:lnTo>
                  <a:cubicBezTo>
                    <a:pt x="699" y="169"/>
                    <a:pt x="671" y="112"/>
                    <a:pt x="625" y="67"/>
                  </a:cubicBezTo>
                  <a:cubicBezTo>
                    <a:pt x="578" y="25"/>
                    <a:pt x="517" y="0"/>
                    <a:pt x="453" y="0"/>
                  </a:cubicBezTo>
                  <a:lnTo>
                    <a:pt x="396" y="0"/>
                  </a:lnTo>
                  <a:cubicBezTo>
                    <a:pt x="333" y="0"/>
                    <a:pt x="271" y="25"/>
                    <a:pt x="225" y="67"/>
                  </a:cubicBezTo>
                  <a:cubicBezTo>
                    <a:pt x="178" y="112"/>
                    <a:pt x="150" y="169"/>
                    <a:pt x="144" y="232"/>
                  </a:cubicBezTo>
                  <a:lnTo>
                    <a:pt x="95" y="232"/>
                  </a:lnTo>
                  <a:cubicBezTo>
                    <a:pt x="43" y="232"/>
                    <a:pt x="0" y="275"/>
                    <a:pt x="0" y="326"/>
                  </a:cubicBezTo>
                  <a:lnTo>
                    <a:pt x="0" y="489"/>
                  </a:lnTo>
                  <a:cubicBezTo>
                    <a:pt x="0" y="541"/>
                    <a:pt x="43" y="584"/>
                    <a:pt x="95" y="584"/>
                  </a:cubicBezTo>
                  <a:lnTo>
                    <a:pt x="161" y="584"/>
                  </a:lnTo>
                  <a:cubicBezTo>
                    <a:pt x="172" y="584"/>
                    <a:pt x="178" y="575"/>
                    <a:pt x="178" y="565"/>
                  </a:cubicBezTo>
                  <a:lnTo>
                    <a:pt x="178" y="251"/>
                  </a:lnTo>
                  <a:lnTo>
                    <a:pt x="180" y="235"/>
                  </a:lnTo>
                  <a:cubicBezTo>
                    <a:pt x="184" y="182"/>
                    <a:pt x="208" y="131"/>
                    <a:pt x="248" y="93"/>
                  </a:cubicBezTo>
                  <a:cubicBezTo>
                    <a:pt x="288" y="57"/>
                    <a:pt x="341" y="36"/>
                    <a:pt x="396" y="36"/>
                  </a:cubicBezTo>
                  <a:lnTo>
                    <a:pt x="453" y="36"/>
                  </a:lnTo>
                  <a:cubicBezTo>
                    <a:pt x="508" y="36"/>
                    <a:pt x="559" y="57"/>
                    <a:pt x="599" y="93"/>
                  </a:cubicBezTo>
                  <a:cubicBezTo>
                    <a:pt x="639" y="131"/>
                    <a:pt x="665" y="182"/>
                    <a:pt x="669" y="235"/>
                  </a:cubicBezTo>
                  <a:lnTo>
                    <a:pt x="669" y="249"/>
                  </a:lnTo>
                  <a:lnTo>
                    <a:pt x="669" y="565"/>
                  </a:lnTo>
                  <a:lnTo>
                    <a:pt x="669" y="580"/>
                  </a:lnTo>
                  <a:cubicBezTo>
                    <a:pt x="661" y="666"/>
                    <a:pt x="603" y="740"/>
                    <a:pt x="523" y="768"/>
                  </a:cubicBezTo>
                  <a:lnTo>
                    <a:pt x="493" y="772"/>
                  </a:lnTo>
                  <a:cubicBezTo>
                    <a:pt x="493" y="736"/>
                    <a:pt x="462" y="707"/>
                    <a:pt x="424" y="707"/>
                  </a:cubicBezTo>
                  <a:cubicBezTo>
                    <a:pt x="385" y="707"/>
                    <a:pt x="354" y="738"/>
                    <a:pt x="354" y="776"/>
                  </a:cubicBezTo>
                  <a:cubicBezTo>
                    <a:pt x="354" y="814"/>
                    <a:pt x="385" y="846"/>
                    <a:pt x="424" y="846"/>
                  </a:cubicBezTo>
                  <a:cubicBezTo>
                    <a:pt x="451" y="846"/>
                    <a:pt x="474" y="831"/>
                    <a:pt x="485" y="810"/>
                  </a:cubicBezTo>
                  <a:lnTo>
                    <a:pt x="531" y="802"/>
                  </a:lnTo>
                  <a:cubicBezTo>
                    <a:pt x="627" y="770"/>
                    <a:pt x="694" y="683"/>
                    <a:pt x="703" y="584"/>
                  </a:cubicBezTo>
                  <a:lnTo>
                    <a:pt x="754" y="584"/>
                  </a:lnTo>
                  <a:cubicBezTo>
                    <a:pt x="807" y="584"/>
                    <a:pt x="847" y="541"/>
                    <a:pt x="847" y="489"/>
                  </a:cubicBezTo>
                  <a:lnTo>
                    <a:pt x="847" y="326"/>
                  </a:lnTo>
                  <a:cubicBezTo>
                    <a:pt x="847" y="275"/>
                    <a:pt x="805" y="232"/>
                    <a:pt x="754" y="23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</p:grp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6E30C6E1-B634-44D1-A262-143092C1535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834472" y="5050737"/>
            <a:ext cx="614573" cy="615006"/>
            <a:chOff x="5557835" y="2971740"/>
            <a:chExt cx="328296" cy="328528"/>
          </a:xfrm>
          <a:solidFill>
            <a:schemeClr val="bg1"/>
          </a:solidFill>
        </p:grpSpPr>
        <p:sp>
          <p:nvSpPr>
            <p:cNvPr id="76" name="Freihandform 1196">
              <a:extLst>
                <a:ext uri="{FF2B5EF4-FFF2-40B4-BE49-F238E27FC236}">
                  <a16:creationId xmlns:a16="http://schemas.microsoft.com/office/drawing/2014/main" id="{C1FD7030-ABBF-4207-A3AA-49632A5D61C6}"/>
                </a:ext>
              </a:extLst>
            </p:cNvPr>
            <p:cNvSpPr/>
            <p:nvPr/>
          </p:nvSpPr>
          <p:spPr>
            <a:xfrm>
              <a:off x="5557835" y="2971740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5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5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5" y="1376"/>
                  </a:cubicBezTo>
                  <a:close/>
                  <a:moveTo>
                    <a:pt x="705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5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7" name="Freihandform 1197">
              <a:extLst>
                <a:ext uri="{FF2B5EF4-FFF2-40B4-BE49-F238E27FC236}">
                  <a16:creationId xmlns:a16="http://schemas.microsoft.com/office/drawing/2014/main" id="{21477099-333D-43D9-A67E-AA794D9C5ACE}"/>
                </a:ext>
              </a:extLst>
            </p:cNvPr>
            <p:cNvSpPr/>
            <p:nvPr/>
          </p:nvSpPr>
          <p:spPr>
            <a:xfrm>
              <a:off x="5681004" y="3070229"/>
              <a:ext cx="81958" cy="8219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353" h="354">
                  <a:moveTo>
                    <a:pt x="176" y="318"/>
                  </a:moveTo>
                  <a:cubicBezTo>
                    <a:pt x="99" y="318"/>
                    <a:pt x="36" y="254"/>
                    <a:pt x="36" y="176"/>
                  </a:cubicBezTo>
                  <a:cubicBezTo>
                    <a:pt x="36" y="100"/>
                    <a:pt x="99" y="36"/>
                    <a:pt x="176" y="36"/>
                  </a:cubicBezTo>
                  <a:cubicBezTo>
                    <a:pt x="254" y="36"/>
                    <a:pt x="317" y="100"/>
                    <a:pt x="317" y="176"/>
                  </a:cubicBezTo>
                  <a:cubicBezTo>
                    <a:pt x="317" y="254"/>
                    <a:pt x="254" y="318"/>
                    <a:pt x="176" y="318"/>
                  </a:cubicBezTo>
                  <a:close/>
                  <a:moveTo>
                    <a:pt x="176" y="0"/>
                  </a:moveTo>
                  <a:cubicBezTo>
                    <a:pt x="78" y="0"/>
                    <a:pt x="0" y="79"/>
                    <a:pt x="0" y="176"/>
                  </a:cubicBezTo>
                  <a:cubicBezTo>
                    <a:pt x="0" y="273"/>
                    <a:pt x="78" y="354"/>
                    <a:pt x="176" y="354"/>
                  </a:cubicBezTo>
                  <a:cubicBezTo>
                    <a:pt x="273" y="354"/>
                    <a:pt x="353" y="273"/>
                    <a:pt x="353" y="176"/>
                  </a:cubicBezTo>
                  <a:cubicBezTo>
                    <a:pt x="353" y="79"/>
                    <a:pt x="273" y="0"/>
                    <a:pt x="176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78" name="Freihandform 1198">
              <a:extLst>
                <a:ext uri="{FF2B5EF4-FFF2-40B4-BE49-F238E27FC236}">
                  <a16:creationId xmlns:a16="http://schemas.microsoft.com/office/drawing/2014/main" id="{FBFDA1BF-D0E4-4000-A2EE-D319D3C1491C}"/>
                </a:ext>
              </a:extLst>
            </p:cNvPr>
            <p:cNvSpPr/>
            <p:nvPr/>
          </p:nvSpPr>
          <p:spPr>
            <a:xfrm>
              <a:off x="5647941" y="3037399"/>
              <a:ext cx="147617" cy="19674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35" h="846">
                  <a:moveTo>
                    <a:pt x="318" y="808"/>
                  </a:moveTo>
                  <a:cubicBezTo>
                    <a:pt x="218" y="690"/>
                    <a:pt x="36" y="438"/>
                    <a:pt x="36" y="317"/>
                  </a:cubicBezTo>
                  <a:cubicBezTo>
                    <a:pt x="36" y="163"/>
                    <a:pt x="163" y="36"/>
                    <a:pt x="318" y="36"/>
                  </a:cubicBezTo>
                  <a:cubicBezTo>
                    <a:pt x="474" y="36"/>
                    <a:pt x="601" y="163"/>
                    <a:pt x="601" y="317"/>
                  </a:cubicBezTo>
                  <a:cubicBezTo>
                    <a:pt x="601" y="463"/>
                    <a:pt x="354" y="766"/>
                    <a:pt x="318" y="808"/>
                  </a:cubicBezTo>
                  <a:close/>
                  <a:moveTo>
                    <a:pt x="318" y="0"/>
                  </a:moveTo>
                  <a:cubicBezTo>
                    <a:pt x="144" y="0"/>
                    <a:pt x="0" y="141"/>
                    <a:pt x="0" y="317"/>
                  </a:cubicBezTo>
                  <a:cubicBezTo>
                    <a:pt x="0" y="480"/>
                    <a:pt x="265" y="800"/>
                    <a:pt x="296" y="836"/>
                  </a:cubicBezTo>
                  <a:cubicBezTo>
                    <a:pt x="301" y="844"/>
                    <a:pt x="309" y="846"/>
                    <a:pt x="318" y="846"/>
                  </a:cubicBezTo>
                  <a:cubicBezTo>
                    <a:pt x="328" y="846"/>
                    <a:pt x="334" y="844"/>
                    <a:pt x="341" y="836"/>
                  </a:cubicBezTo>
                  <a:cubicBezTo>
                    <a:pt x="370" y="800"/>
                    <a:pt x="635" y="480"/>
                    <a:pt x="635" y="317"/>
                  </a:cubicBezTo>
                  <a:cubicBezTo>
                    <a:pt x="635" y="141"/>
                    <a:pt x="493" y="0"/>
                    <a:pt x="318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</p:grpSp>
      <p:sp>
        <p:nvSpPr>
          <p:cNvPr id="2" name="Abgerundetes Rechteck 1"/>
          <p:cNvSpPr/>
          <p:nvPr/>
        </p:nvSpPr>
        <p:spPr>
          <a:xfrm>
            <a:off x="3035480" y="6076531"/>
            <a:ext cx="2182766" cy="671164"/>
          </a:xfrm>
          <a:prstGeom prst="roundRect">
            <a:avLst/>
          </a:prstGeom>
          <a:solidFill>
            <a:srgbClr val="DF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solidFill>
                  <a:schemeClr val="bg1"/>
                </a:solidFill>
              </a:rPr>
              <a:t>Vermittler dürfen ausschließlich Zugriff auf ihren eigenen Bestand bekommen.</a:t>
            </a:r>
            <a:endParaRPr lang="de-DE" sz="1000" dirty="0">
              <a:solidFill>
                <a:schemeClr val="bg1"/>
              </a:solidFill>
            </a:endParaRPr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A539E2A7-967C-4E93-8BD2-ACB6071F3DC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ChangeAspect="1"/>
          </p:cNvGrpSpPr>
          <p:nvPr/>
        </p:nvGrpSpPr>
        <p:grpSpPr>
          <a:xfrm>
            <a:off x="2845373" y="6296872"/>
            <a:ext cx="284324" cy="284524"/>
            <a:chOff x="10455168" y="3858604"/>
            <a:chExt cx="328296" cy="328528"/>
          </a:xfrm>
          <a:solidFill>
            <a:schemeClr val="bg1"/>
          </a:solidFill>
        </p:grpSpPr>
        <p:sp>
          <p:nvSpPr>
            <p:cNvPr id="59" name="Freihandform 1794">
              <a:extLst>
                <a:ext uri="{FF2B5EF4-FFF2-40B4-BE49-F238E27FC236}">
                  <a16:creationId xmlns:a16="http://schemas.microsoft.com/office/drawing/2014/main" id="{5E1F8435-84E0-4C42-8FEB-A0751F89245E}"/>
                </a:ext>
              </a:extLst>
            </p:cNvPr>
            <p:cNvSpPr/>
            <p:nvPr/>
          </p:nvSpPr>
          <p:spPr>
            <a:xfrm>
              <a:off x="10455168" y="3858604"/>
              <a:ext cx="328296" cy="328528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11" h="1412">
                  <a:moveTo>
                    <a:pt x="704" y="1376"/>
                  </a:moveTo>
                  <a:cubicBezTo>
                    <a:pt x="336" y="1376"/>
                    <a:pt x="36" y="1075"/>
                    <a:pt x="36" y="705"/>
                  </a:cubicBezTo>
                  <a:cubicBezTo>
                    <a:pt x="36" y="337"/>
                    <a:pt x="336" y="36"/>
                    <a:pt x="704" y="36"/>
                  </a:cubicBezTo>
                  <a:cubicBezTo>
                    <a:pt x="1075" y="36"/>
                    <a:pt x="1375" y="337"/>
                    <a:pt x="1375" y="705"/>
                  </a:cubicBezTo>
                  <a:cubicBezTo>
                    <a:pt x="1375" y="1075"/>
                    <a:pt x="1075" y="1376"/>
                    <a:pt x="704" y="1376"/>
                  </a:cubicBezTo>
                  <a:close/>
                  <a:moveTo>
                    <a:pt x="704" y="0"/>
                  </a:moveTo>
                  <a:cubicBezTo>
                    <a:pt x="317" y="0"/>
                    <a:pt x="0" y="318"/>
                    <a:pt x="0" y="705"/>
                  </a:cubicBezTo>
                  <a:cubicBezTo>
                    <a:pt x="0" y="1094"/>
                    <a:pt x="317" y="1412"/>
                    <a:pt x="704" y="1412"/>
                  </a:cubicBezTo>
                  <a:cubicBezTo>
                    <a:pt x="1094" y="1412"/>
                    <a:pt x="1411" y="1094"/>
                    <a:pt x="1411" y="705"/>
                  </a:cubicBezTo>
                  <a:cubicBezTo>
                    <a:pt x="1411" y="318"/>
                    <a:pt x="1094" y="0"/>
                    <a:pt x="704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0" name="Freihandform 1795">
              <a:extLst>
                <a:ext uri="{FF2B5EF4-FFF2-40B4-BE49-F238E27FC236}">
                  <a16:creationId xmlns:a16="http://schemas.microsoft.com/office/drawing/2014/main" id="{17DCA15D-1B51-4AAA-8712-14AF75BD079A}"/>
                </a:ext>
              </a:extLst>
            </p:cNvPr>
            <p:cNvSpPr/>
            <p:nvPr/>
          </p:nvSpPr>
          <p:spPr>
            <a:xfrm>
              <a:off x="10599060" y="3990156"/>
              <a:ext cx="40513" cy="13085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75" h="563">
                  <a:moveTo>
                    <a:pt x="139" y="529"/>
                  </a:moveTo>
                  <a:lnTo>
                    <a:pt x="34" y="529"/>
                  </a:lnTo>
                  <a:lnTo>
                    <a:pt x="34" y="34"/>
                  </a:lnTo>
                  <a:lnTo>
                    <a:pt x="139" y="34"/>
                  </a:lnTo>
                  <a:close/>
                  <a:moveTo>
                    <a:pt x="158" y="0"/>
                  </a:moveTo>
                  <a:lnTo>
                    <a:pt x="17" y="0"/>
                  </a:lnTo>
                  <a:cubicBezTo>
                    <a:pt x="6" y="0"/>
                    <a:pt x="0" y="7"/>
                    <a:pt x="0" y="17"/>
                  </a:cubicBezTo>
                  <a:lnTo>
                    <a:pt x="0" y="546"/>
                  </a:lnTo>
                  <a:cubicBezTo>
                    <a:pt x="0" y="557"/>
                    <a:pt x="6" y="563"/>
                    <a:pt x="17" y="563"/>
                  </a:cubicBezTo>
                  <a:lnTo>
                    <a:pt x="158" y="563"/>
                  </a:lnTo>
                  <a:cubicBezTo>
                    <a:pt x="167" y="563"/>
                    <a:pt x="175" y="557"/>
                    <a:pt x="175" y="546"/>
                  </a:cubicBezTo>
                  <a:lnTo>
                    <a:pt x="175" y="17"/>
                  </a:lnTo>
                  <a:cubicBezTo>
                    <a:pt x="175" y="7"/>
                    <a:pt x="167" y="0"/>
                    <a:pt x="158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61" name="Freihandform 1796">
              <a:extLst>
                <a:ext uri="{FF2B5EF4-FFF2-40B4-BE49-F238E27FC236}">
                  <a16:creationId xmlns:a16="http://schemas.microsoft.com/office/drawing/2014/main" id="{3F5181E5-45B9-4766-B8FB-3468D645FC6E}"/>
                </a:ext>
              </a:extLst>
            </p:cNvPr>
            <p:cNvSpPr/>
            <p:nvPr/>
          </p:nvSpPr>
          <p:spPr>
            <a:xfrm>
              <a:off x="10594636" y="3924264"/>
              <a:ext cx="48895" cy="4889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211" h="211">
                  <a:moveTo>
                    <a:pt x="105" y="177"/>
                  </a:moveTo>
                  <a:cubicBezTo>
                    <a:pt x="67" y="177"/>
                    <a:pt x="36" y="146"/>
                    <a:pt x="36" y="105"/>
                  </a:cubicBezTo>
                  <a:cubicBezTo>
                    <a:pt x="36" y="67"/>
                    <a:pt x="67" y="36"/>
                    <a:pt x="105" y="36"/>
                  </a:cubicBezTo>
                  <a:cubicBezTo>
                    <a:pt x="146" y="36"/>
                    <a:pt x="177" y="67"/>
                    <a:pt x="177" y="105"/>
                  </a:cubicBezTo>
                  <a:cubicBezTo>
                    <a:pt x="177" y="146"/>
                    <a:pt x="146" y="177"/>
                    <a:pt x="105" y="177"/>
                  </a:cubicBezTo>
                  <a:close/>
                  <a:moveTo>
                    <a:pt x="105" y="0"/>
                  </a:moveTo>
                  <a:cubicBezTo>
                    <a:pt x="48" y="0"/>
                    <a:pt x="0" y="48"/>
                    <a:pt x="0" y="105"/>
                  </a:cubicBezTo>
                  <a:cubicBezTo>
                    <a:pt x="0" y="165"/>
                    <a:pt x="48" y="211"/>
                    <a:pt x="105" y="211"/>
                  </a:cubicBezTo>
                  <a:cubicBezTo>
                    <a:pt x="165" y="211"/>
                    <a:pt x="211" y="165"/>
                    <a:pt x="211" y="105"/>
                  </a:cubicBezTo>
                  <a:cubicBezTo>
                    <a:pt x="211" y="48"/>
                    <a:pt x="165" y="0"/>
                    <a:pt x="105" y="0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5246" tIns="47623" rIns="95246" bIns="47623" anchor="ctr" anchorCtr="1" compatLnSpc="0"/>
            <a:lstStyle/>
            <a:p>
              <a:pPr hangingPunct="0"/>
              <a:endParaRPr lang="en-US" sz="1905" dirty="0">
                <a:solidFill>
                  <a:schemeClr val="bg1"/>
                </a:solidFill>
                <a:ea typeface="Arial Unicode MS" pitchFamily="2"/>
                <a:cs typeface="Arial Unicode MS" pitchFamily="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8877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9920DA-E5A8-4A47-A6C1-A4C5C1DB65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9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9920DA-E5A8-4A47-A6C1-A4C5C1DB6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B2A06E-3B97-49C8-8487-A03D771C2B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89A7A182-EF37-4E98-82D0-9EC00BBD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 dirty="0" smtClean="0"/>
              <a:t>Das Konzept des </a:t>
            </a:r>
            <a:r>
              <a:rPr lang="de-DE" dirty="0" err="1" smtClean="0"/>
              <a:t>FirmenAdmins</a:t>
            </a:r>
            <a:endParaRPr lang="de-DE" baseline="30000" dirty="0">
              <a:solidFill>
                <a:srgbClr val="13A0D3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476250"/>
            <a:ext cx="9324973" cy="25200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Der Admin-Bereich im AG-Portal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 txBox="1">
            <a:spLocks/>
          </p:cNvSpPr>
          <p:nvPr/>
        </p:nvSpPr>
        <p:spPr>
          <a:xfrm>
            <a:off x="479424" y="480762"/>
            <a:ext cx="9324973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52" marR="0" indent="-179352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394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14" indent="-237014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5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39" indent="-122739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00" b="1" i="0" u="none" strike="noStrike" kern="1200" cap="all" spc="63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ischaltung für das arbeitgeber-portal</a:t>
            </a:r>
            <a:endParaRPr kumimoji="0" lang="de-DE" sz="1100" b="1" i="0" u="none" strike="noStrike" kern="1200" cap="all" spc="63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23850" y="1610426"/>
            <a:ext cx="5032376" cy="4011540"/>
            <a:chOff x="526160" y="1565701"/>
            <a:chExt cx="3823649" cy="2818292"/>
          </a:xfrm>
        </p:grpSpPr>
        <p:graphicFrame>
          <p:nvGraphicFramePr>
            <p:cNvPr id="2" name="Diagramm 1"/>
            <p:cNvGraphicFramePr/>
            <p:nvPr>
              <p:extLst>
                <p:ext uri="{D42A27DB-BD31-4B8C-83A1-F6EECF244321}">
                  <p14:modId xmlns:p14="http://schemas.microsoft.com/office/powerpoint/2010/main" val="602908124"/>
                </p:ext>
              </p:extLst>
            </p:nvPr>
          </p:nvGraphicFramePr>
          <p:xfrm>
            <a:off x="526160" y="1565701"/>
            <a:ext cx="3823649" cy="281829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4" name="Textfeld 3"/>
            <p:cNvSpPr txBox="1"/>
            <p:nvPr/>
          </p:nvSpPr>
          <p:spPr>
            <a:xfrm>
              <a:off x="1899089" y="2262563"/>
              <a:ext cx="1089323" cy="261630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algn="ctr"/>
              <a:r>
                <a:rPr lang="de-DE" sz="1400" b="1" dirty="0" smtClean="0"/>
                <a:t>FirmenAdmin</a:t>
              </a:r>
            </a:p>
          </p:txBody>
        </p:sp>
      </p:grpSp>
      <p:cxnSp>
        <p:nvCxnSpPr>
          <p:cNvPr id="30" name="Straight Connector 14">
            <a:extLst>
              <a:ext uri="{FF2B5EF4-FFF2-40B4-BE49-F238E27FC236}">
                <a16:creationId xmlns:a16="http://schemas.microsoft.com/office/drawing/2014/main" id="{00A483EA-D09D-4DA3-8D02-B4825F216EA1}"/>
              </a:ext>
            </a:extLst>
          </p:cNvPr>
          <p:cNvCxnSpPr>
            <a:cxnSpLocks/>
          </p:cNvCxnSpPr>
          <p:nvPr/>
        </p:nvCxnSpPr>
        <p:spPr>
          <a:xfrm>
            <a:off x="382994" y="2942464"/>
            <a:ext cx="108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31" name="Straight Connector 14">
            <a:extLst>
              <a:ext uri="{FF2B5EF4-FFF2-40B4-BE49-F238E27FC236}">
                <a16:creationId xmlns:a16="http://schemas.microsoft.com/office/drawing/2014/main" id="{00A483EA-D09D-4DA3-8D02-B4825F216EA1}"/>
              </a:ext>
            </a:extLst>
          </p:cNvPr>
          <p:cNvCxnSpPr>
            <a:cxnSpLocks/>
          </p:cNvCxnSpPr>
          <p:nvPr/>
        </p:nvCxnSpPr>
        <p:spPr>
          <a:xfrm>
            <a:off x="382994" y="4269582"/>
            <a:ext cx="108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cxnSp>
        <p:nvCxnSpPr>
          <p:cNvPr id="32" name="Straight Connector 14">
            <a:extLst>
              <a:ext uri="{FF2B5EF4-FFF2-40B4-BE49-F238E27FC236}">
                <a16:creationId xmlns:a16="http://schemas.microsoft.com/office/drawing/2014/main" id="{00A483EA-D09D-4DA3-8D02-B4825F216EA1}"/>
              </a:ext>
            </a:extLst>
          </p:cNvPr>
          <p:cNvCxnSpPr>
            <a:cxnSpLocks/>
          </p:cNvCxnSpPr>
          <p:nvPr/>
        </p:nvCxnSpPr>
        <p:spPr>
          <a:xfrm>
            <a:off x="123645" y="5621966"/>
            <a:ext cx="10800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lgDash"/>
          </a:ln>
          <a:effectLst/>
        </p:spPr>
      </p:cxnSp>
      <p:sp>
        <p:nvSpPr>
          <p:cNvPr id="7" name="Textfeld 6"/>
          <p:cNvSpPr txBox="1"/>
          <p:nvPr/>
        </p:nvSpPr>
        <p:spPr>
          <a:xfrm>
            <a:off x="3766175" y="2016556"/>
            <a:ext cx="6930711" cy="10630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Nur Mitarbeiter 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des Firmenkunden 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(z.B. Geschäftsführer,  Mitarbeiter der Personalabteilung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)</a:t>
            </a: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Hat vollumfängliche Rechte (d.h. der FirmenAdmin hat für alle freigeschalteten Verträge alle 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Vertragsrechte</a:t>
            </a:r>
            <a:r>
              <a:rPr lang="de-DE" sz="1200" baseline="30000" dirty="0" smtClean="0">
                <a:solidFill>
                  <a:schemeClr val="bg1"/>
                </a:solidFill>
              </a:rPr>
              <a:t>1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)</a:t>
            </a:r>
            <a:endParaRPr lang="de-DE" sz="12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Keine Einschränkung in der Rechteweitergabe (außer bei 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Versicherungsvertretern/ 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-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maklern)</a:t>
            </a:r>
            <a:r>
              <a:rPr lang="de-DE" sz="1200" baseline="30000" dirty="0" smtClean="0">
                <a:solidFill>
                  <a:schemeClr val="bg1"/>
                </a:solidFill>
              </a:rPr>
              <a:t>2</a:t>
            </a: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4563649" y="3098104"/>
            <a:ext cx="6619345" cy="9365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Firmeneigener Mitarbeiter, Versicherungsvertreter/-makler oder Andere (z.B. externe Dienstleister für Lohn- und Gehaltsbuchungen oder Steuerberater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Erhält die Rechte vom </a:t>
            </a:r>
            <a:r>
              <a:rPr lang="de-DE" sz="1200" dirty="0" err="1" smtClean="0">
                <a:solidFill>
                  <a:schemeClr val="bg1"/>
                </a:solidFill>
                <a:latin typeface="+mj-lt"/>
              </a:rPr>
              <a:t>FirmenAdmin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 oder über Freischaltungsantrag</a:t>
            </a:r>
          </a:p>
          <a:p>
            <a:pPr marL="285750" lvl="0" indent="-285750" defTabSz="967710">
              <a:buFont typeface="Arial" panose="020B0604020202020204" pitchFamily="34" charset="0"/>
              <a:buChar char="•"/>
              <a:defRPr/>
            </a:pP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Kann </a:t>
            </a:r>
            <a:r>
              <a:rPr lang="de-DE" sz="1200" u="sng" dirty="0">
                <a:solidFill>
                  <a:schemeClr val="bg1"/>
                </a:solidFill>
                <a:latin typeface="+mj-lt"/>
              </a:rPr>
              <a:t>nur weitere Nutzer</a:t>
            </a:r>
            <a:r>
              <a:rPr lang="de-DE" sz="1200" dirty="0">
                <a:solidFill>
                  <a:schemeClr val="bg1"/>
                </a:solidFill>
                <a:latin typeface="+mj-lt"/>
              </a:rPr>
              <a:t> hinzufügen und verwalten (keine Admins &amp; </a:t>
            </a:r>
            <a:r>
              <a:rPr lang="de-DE" sz="1200" dirty="0" err="1" smtClean="0">
                <a:solidFill>
                  <a:schemeClr val="bg1"/>
                </a:solidFill>
                <a:latin typeface="+mj-lt"/>
              </a:rPr>
              <a:t>FirmenAdmins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)</a:t>
            </a:r>
            <a:r>
              <a:rPr lang="de-DE" sz="1200" baseline="30000" dirty="0">
                <a:solidFill>
                  <a:schemeClr val="bg1"/>
                </a:solidFill>
                <a:latin typeface="+mj-lt"/>
              </a:rPr>
              <a:t>2</a:t>
            </a:r>
            <a:endParaRPr lang="de-DE" sz="1200" dirty="0">
              <a:solidFill>
                <a:schemeClr val="bg1"/>
              </a:solidFill>
              <a:latin typeface="+mj-lt"/>
            </a:endParaRPr>
          </a:p>
          <a:p>
            <a:pPr marL="285750" lvl="0" indent="-285750" defTabSz="967710"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Er kann nur Rechte weitergeben, die er selbst </a:t>
            </a:r>
            <a:r>
              <a:rPr lang="de-DE" sz="1200" dirty="0" smtClean="0">
                <a:solidFill>
                  <a:schemeClr val="bg1"/>
                </a:solidFill>
                <a:latin typeface="+mj-lt"/>
              </a:rPr>
              <a:t>besitzt</a:t>
            </a:r>
            <a:endParaRPr lang="de-DE" sz="12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5203614" y="4487664"/>
            <a:ext cx="5872644" cy="82851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285750" lvl="0" indent="-285750" defTabSz="1219170">
              <a:buFont typeface="Arial" panose="020B0604020202020204" pitchFamily="34" charset="0"/>
              <a:buChar char="•"/>
              <a:defRPr/>
            </a:pPr>
            <a:r>
              <a:rPr lang="de-DE" sz="1200" dirty="0">
                <a:solidFill>
                  <a:schemeClr val="bg1"/>
                </a:solidFill>
                <a:latin typeface="+mj-lt"/>
              </a:rPr>
              <a:t>Firmeneigener Mitarbeiter, Versicherungsvertreter/-makler oder Andere (z.B. externe Dienstleister für Lohn- und Gehaltsbuchungen oder Steuerberater).</a:t>
            </a:r>
            <a:endParaRPr lang="de-DE" sz="12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  <a:p>
            <a:pPr marL="285750" indent="-285750" defTabSz="1219170">
              <a:buFont typeface="Arial" panose="020B0604020202020204" pitchFamily="34" charset="0"/>
              <a:buChar char="•"/>
              <a:defRPr/>
            </a:pPr>
            <a:r>
              <a:rPr lang="de-DE" sz="12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Keine </a:t>
            </a:r>
            <a:r>
              <a:rPr lang="de-DE" sz="12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Administrationsrechte und kann daher „nur Verträge über </a:t>
            </a:r>
            <a:r>
              <a:rPr lang="de-DE" sz="1200" dirty="0" err="1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FirmenOnline</a:t>
            </a:r>
            <a:r>
              <a:rPr lang="de-DE" sz="12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 </a:t>
            </a:r>
            <a:r>
              <a:rPr lang="de-DE" sz="1200" dirty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verwalten</a:t>
            </a:r>
            <a:r>
              <a:rPr lang="de-DE" sz="1200" dirty="0" smtClean="0">
                <a:solidFill>
                  <a:schemeClr val="bg1"/>
                </a:solidFill>
                <a:latin typeface="+mj-lt"/>
                <a:cs typeface="Calibri" panose="020F0502020204030204" pitchFamily="34" charset="0"/>
              </a:rPr>
              <a:t>“</a:t>
            </a:r>
            <a:endParaRPr lang="de-DE" sz="1200" dirty="0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89DE8BDA-E9A0-4757-AD0C-BAB69FFC5B8B}"/>
              </a:ext>
            </a:extLst>
          </p:cNvPr>
          <p:cNvSpPr txBox="1"/>
          <p:nvPr/>
        </p:nvSpPr>
        <p:spPr>
          <a:xfrm>
            <a:off x="266988" y="6112991"/>
            <a:ext cx="10513313" cy="6670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lvl="0" defTabSz="1219170">
              <a:defRPr/>
            </a:pPr>
            <a:r>
              <a:rPr lang="de-DE" sz="900" baseline="30000" dirty="0" smtClean="0">
                <a:solidFill>
                  <a:schemeClr val="bg1"/>
                </a:solidFill>
                <a:latin typeface="+mj-lt"/>
              </a:rPr>
              <a:t>1</a:t>
            </a:r>
            <a:r>
              <a:rPr lang="de-DE" sz="900" dirty="0" smtClean="0">
                <a:solidFill>
                  <a:schemeClr val="bg1"/>
                </a:solidFill>
                <a:latin typeface="+mj-lt"/>
              </a:rPr>
              <a:t>Bestand lesen, Bestand ändern, Berechnen, Mitarbeiter anmelden, Abrechnung lesen</a:t>
            </a:r>
            <a:endParaRPr lang="de-DE" sz="900" baseline="30000" dirty="0" smtClean="0">
              <a:solidFill>
                <a:schemeClr val="bg1"/>
              </a:solidFill>
              <a:latin typeface="+mj-lt"/>
            </a:endParaRPr>
          </a:p>
          <a:p>
            <a:pPr lvl="0" defTabSz="1219170">
              <a:defRPr/>
            </a:pPr>
            <a:r>
              <a:rPr lang="de-DE" sz="900" baseline="30000" dirty="0" smtClean="0">
                <a:solidFill>
                  <a:schemeClr val="bg1"/>
                </a:solidFill>
                <a:latin typeface="+mj-lt"/>
              </a:rPr>
              <a:t>2</a:t>
            </a:r>
            <a:r>
              <a:rPr lang="de-DE" sz="900" dirty="0" smtClean="0">
                <a:solidFill>
                  <a:schemeClr val="bg1"/>
                </a:solidFill>
                <a:latin typeface="+mj-lt"/>
              </a:rPr>
              <a:t>Einschränkungen bei Vermittlern: </a:t>
            </a:r>
          </a:p>
          <a:p>
            <a:pPr marL="171450" lvl="0" indent="-171450" defTabSz="1219170">
              <a:buFont typeface="Arial" panose="020B0604020202020204" pitchFamily="34" charset="0"/>
              <a:buChar char="•"/>
              <a:defRPr/>
            </a:pPr>
            <a:r>
              <a:rPr lang="de-DE" sz="900" dirty="0" smtClean="0">
                <a:solidFill>
                  <a:schemeClr val="bg1"/>
                </a:solidFill>
                <a:latin typeface="+mj-lt"/>
              </a:rPr>
              <a:t>Vermittler als </a:t>
            </a:r>
            <a:r>
              <a:rPr lang="de-DE" sz="900" dirty="0">
                <a:solidFill>
                  <a:schemeClr val="bg1"/>
                </a:solidFill>
                <a:latin typeface="+mj-lt"/>
              </a:rPr>
              <a:t>Admin kann </a:t>
            </a:r>
            <a:r>
              <a:rPr lang="de-DE" sz="900" dirty="0" smtClean="0">
                <a:solidFill>
                  <a:schemeClr val="bg1"/>
                </a:solidFill>
                <a:latin typeface="+mj-lt"/>
              </a:rPr>
              <a:t>keine </a:t>
            </a:r>
            <a:r>
              <a:rPr lang="de-DE" sz="900" dirty="0">
                <a:solidFill>
                  <a:schemeClr val="bg1"/>
                </a:solidFill>
                <a:latin typeface="+mj-lt"/>
              </a:rPr>
              <a:t>weiteren Nutzer direkt über das Portal freischalten oder verwalten. </a:t>
            </a:r>
          </a:p>
          <a:p>
            <a:pPr marL="171450" lvl="0" indent="-171450" defTabSz="1219170">
              <a:buFont typeface="Arial" panose="020B0604020202020204" pitchFamily="34" charset="0"/>
              <a:buChar char="•"/>
              <a:defRPr/>
            </a:pPr>
            <a:r>
              <a:rPr lang="de-DE" sz="900" dirty="0" smtClean="0">
                <a:solidFill>
                  <a:schemeClr val="bg1"/>
                </a:solidFill>
                <a:latin typeface="+mj-lt"/>
              </a:rPr>
              <a:t>Vermittler können </a:t>
            </a:r>
            <a:r>
              <a:rPr lang="de-DE" sz="900" dirty="0">
                <a:solidFill>
                  <a:schemeClr val="bg1"/>
                </a:solidFill>
                <a:latin typeface="+mj-lt"/>
              </a:rPr>
              <a:t>nicht direkt im Admin-Bereich freigeschaltet werden. Für die Freischaltung eines Vermittlers ist immer ein Freischaltungsantrag erforderlich</a:t>
            </a:r>
            <a:r>
              <a:rPr lang="de-DE" sz="1000" dirty="0">
                <a:solidFill>
                  <a:schemeClr val="bg1"/>
                </a:solidFill>
                <a:latin typeface="+mj-lt"/>
              </a:rPr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599434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9920DA-E5A8-4A47-A6C1-A4C5C1DB65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5"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9920DA-E5A8-4A47-A6C1-A4C5C1DB6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B2A06E-3B97-49C8-8487-A03D771C2BC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6C449F3-BD9D-48DC-BFF1-0F66671DA7C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0" name="Titel 3">
            <a:extLst>
              <a:ext uri="{FF2B5EF4-FFF2-40B4-BE49-F238E27FC236}">
                <a16:creationId xmlns:a16="http://schemas.microsoft.com/office/drawing/2014/main" id="{89A7A182-EF37-4E98-82D0-9EC00BBD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7" y="875309"/>
            <a:ext cx="9324974" cy="932854"/>
          </a:xfrm>
        </p:spPr>
        <p:txBody>
          <a:bodyPr/>
          <a:lstStyle/>
          <a:p>
            <a:r>
              <a:rPr lang="de-DE" dirty="0"/>
              <a:t>Die Funktionen des Admin-Bereichs</a:t>
            </a:r>
            <a:endParaRPr lang="de-DE" baseline="30000" dirty="0">
              <a:solidFill>
                <a:srgbClr val="13A0D3"/>
              </a:solidFill>
            </a:endParaRP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4" y="476250"/>
            <a:ext cx="9324973" cy="252000"/>
          </a:xfrm>
        </p:spPr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Der Admin-Bereich im AG-Portal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7C7DF5C4-27A4-4057-B4CC-25280C508D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98319" y="2019907"/>
            <a:ext cx="3178674" cy="14502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7D400BA8-7A22-476E-8C93-43C8C5896997}"/>
              </a:ext>
            </a:extLst>
          </p:cNvPr>
          <p:cNvSpPr/>
          <p:nvPr/>
        </p:nvSpPr>
        <p:spPr>
          <a:xfrm>
            <a:off x="4598319" y="1621683"/>
            <a:ext cx="3178674" cy="388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1983" tIns="71983" rIns="71983" bIns="719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de-DE" sz="1200" dirty="0">
                <a:solidFill>
                  <a:srgbClr val="FFFFFF"/>
                </a:solidFill>
                <a:latin typeface="+mj-lt"/>
              </a:rPr>
              <a:t>Startseite des </a:t>
            </a:r>
            <a:r>
              <a:rPr lang="de-DE" sz="1200" b="1" dirty="0">
                <a:solidFill>
                  <a:srgbClr val="FFFFFF"/>
                </a:solidFill>
                <a:latin typeface="+mj-lt"/>
              </a:rPr>
              <a:t>Admin-Bereichs</a:t>
            </a:r>
            <a:r>
              <a:rPr lang="de-DE" sz="1200" b="1" baseline="30000" dirty="0">
                <a:solidFill>
                  <a:srgbClr val="FFFFFF"/>
                </a:solidFill>
                <a:latin typeface="+mj-lt"/>
              </a:rPr>
              <a:t>1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38B10D46-476D-467C-969D-B6382A6992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9988" y="4686802"/>
            <a:ext cx="3068192" cy="14502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C9803E37-2C74-4F2D-BAD0-3CFFA45549BD}"/>
              </a:ext>
            </a:extLst>
          </p:cNvPr>
          <p:cNvSpPr/>
          <p:nvPr/>
        </p:nvSpPr>
        <p:spPr>
          <a:xfrm>
            <a:off x="4591804" y="4153741"/>
            <a:ext cx="3074707" cy="533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1983" tIns="71983" rIns="71983" bIns="719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de-DE" sz="1200" b="1" dirty="0">
                <a:solidFill>
                  <a:srgbClr val="FFFFFF"/>
                </a:solidFill>
                <a:latin typeface="+mj-lt"/>
              </a:rPr>
              <a:t>Registrierung weiterer Nutzer </a:t>
            </a:r>
            <a:r>
              <a:rPr lang="de-DE" sz="1200" dirty="0">
                <a:solidFill>
                  <a:srgbClr val="FFFFFF"/>
                </a:solidFill>
                <a:latin typeface="+mj-lt"/>
              </a:rPr>
              <a:t>mit sofortiger Freischaltung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6C2C42B9-643B-465C-B7A5-2547189798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6909" y="4846769"/>
            <a:ext cx="3519319" cy="12612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D46CB8B2-709B-4E19-9B01-0D0D59E3CBFC}"/>
              </a:ext>
            </a:extLst>
          </p:cNvPr>
          <p:cNvSpPr/>
          <p:nvPr/>
        </p:nvSpPr>
        <p:spPr>
          <a:xfrm>
            <a:off x="676910" y="4169524"/>
            <a:ext cx="3519318" cy="6771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1983" tIns="71983" rIns="71983" bIns="719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de-DE" sz="1200" b="1" dirty="0">
                <a:latin typeface="+mj-lt"/>
              </a:rPr>
              <a:t>Änderung von Nutzerrechten </a:t>
            </a:r>
            <a:br>
              <a:rPr lang="de-DE" sz="1200" b="1" dirty="0">
                <a:latin typeface="+mj-lt"/>
              </a:rPr>
            </a:br>
            <a:r>
              <a:rPr lang="de-DE" sz="1200" dirty="0">
                <a:latin typeface="+mj-lt"/>
              </a:rPr>
              <a:t>auf Vertrags- oder Personenebene sowie</a:t>
            </a:r>
            <a:r>
              <a:rPr lang="de-DE" sz="1200" b="1" dirty="0">
                <a:latin typeface="+mj-lt"/>
              </a:rPr>
              <a:t> </a:t>
            </a:r>
            <a:br>
              <a:rPr lang="de-DE" sz="1200" b="1" dirty="0">
                <a:latin typeface="+mj-lt"/>
              </a:rPr>
            </a:br>
            <a:r>
              <a:rPr lang="de-DE" sz="1200" b="1" dirty="0">
                <a:latin typeface="+mj-lt"/>
              </a:rPr>
              <a:t>Vergabe von Admin-Rech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C44DA78A-4B07-4601-86A1-51E0F234F26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49237" y="4686800"/>
            <a:ext cx="3657886" cy="14547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5C82E0EF-89A6-4F09-9BA8-5577AC12949E}"/>
              </a:ext>
            </a:extLst>
          </p:cNvPr>
          <p:cNvSpPr/>
          <p:nvPr/>
        </p:nvSpPr>
        <p:spPr>
          <a:xfrm>
            <a:off x="7849238" y="4153740"/>
            <a:ext cx="3657884" cy="5330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71983" tIns="71983" rIns="71983" bIns="7198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926">
              <a:spcBef>
                <a:spcPts val="100"/>
              </a:spcBef>
              <a:spcAft>
                <a:spcPts val="100"/>
              </a:spcAft>
            </a:pPr>
            <a:r>
              <a:rPr lang="de-DE" sz="1200" b="1" dirty="0">
                <a:solidFill>
                  <a:srgbClr val="FFFFFF"/>
                </a:solidFill>
                <a:latin typeface="+mj-lt"/>
              </a:rPr>
              <a:t>Logbuch </a:t>
            </a:r>
            <a:r>
              <a:rPr lang="de-DE" sz="1200" dirty="0">
                <a:solidFill>
                  <a:srgbClr val="FFFFFF"/>
                </a:solidFill>
                <a:latin typeface="+mj-lt"/>
              </a:rPr>
              <a:t>mit Liste aller Admin-Aktivitäten</a:t>
            </a:r>
          </a:p>
        </p:txBody>
      </p:sp>
      <p:cxnSp>
        <p:nvCxnSpPr>
          <p:cNvPr id="23" name="Verbinder: gewinkelt 67">
            <a:extLst>
              <a:ext uri="{FF2B5EF4-FFF2-40B4-BE49-F238E27FC236}">
                <a16:creationId xmlns:a16="http://schemas.microsoft.com/office/drawing/2014/main" id="{0311089B-187F-428B-AE6B-FE4F264E2A58}"/>
              </a:ext>
            </a:extLst>
          </p:cNvPr>
          <p:cNvCxnSpPr>
            <a:cxnSpLocks/>
          </p:cNvCxnSpPr>
          <p:nvPr/>
        </p:nvCxnSpPr>
        <p:spPr>
          <a:xfrm rot="10800000" flipV="1">
            <a:off x="2436569" y="2998832"/>
            <a:ext cx="2435578" cy="1164233"/>
          </a:xfrm>
          <a:prstGeom prst="bentConnector2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Verbinder: gewinkelt 67">
            <a:extLst>
              <a:ext uri="{FF2B5EF4-FFF2-40B4-BE49-F238E27FC236}">
                <a16:creationId xmlns:a16="http://schemas.microsoft.com/office/drawing/2014/main" id="{0311089B-187F-428B-AE6B-FE4F264E2A58}"/>
              </a:ext>
            </a:extLst>
          </p:cNvPr>
          <p:cNvCxnSpPr>
            <a:cxnSpLocks/>
          </p:cNvCxnSpPr>
          <p:nvPr/>
        </p:nvCxnSpPr>
        <p:spPr>
          <a:xfrm rot="10800000" flipV="1">
            <a:off x="2720607" y="2703487"/>
            <a:ext cx="4455263" cy="1465972"/>
          </a:xfrm>
          <a:prstGeom prst="bentConnector3">
            <a:avLst>
              <a:gd name="adj1" fmla="val 100016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Verbinder: gewinkelt 67">
            <a:extLst>
              <a:ext uri="{FF2B5EF4-FFF2-40B4-BE49-F238E27FC236}">
                <a16:creationId xmlns:a16="http://schemas.microsoft.com/office/drawing/2014/main" id="{0311089B-187F-428B-AE6B-FE4F264E2A58}"/>
              </a:ext>
            </a:extLst>
          </p:cNvPr>
          <p:cNvCxnSpPr>
            <a:cxnSpLocks/>
          </p:cNvCxnSpPr>
          <p:nvPr/>
        </p:nvCxnSpPr>
        <p:spPr>
          <a:xfrm>
            <a:off x="6182265" y="2180942"/>
            <a:ext cx="2778114" cy="1971503"/>
          </a:xfrm>
          <a:prstGeom prst="bentConnector3">
            <a:avLst>
              <a:gd name="adj1" fmla="val 100032"/>
            </a:avLst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Verbinder: gewinkelt 67">
            <a:extLst>
              <a:ext uri="{FF2B5EF4-FFF2-40B4-BE49-F238E27FC236}">
                <a16:creationId xmlns:a16="http://schemas.microsoft.com/office/drawing/2014/main" id="{0311089B-187F-428B-AE6B-FE4F264E2A58}"/>
              </a:ext>
            </a:extLst>
          </p:cNvPr>
          <p:cNvCxnSpPr>
            <a:cxnSpLocks/>
          </p:cNvCxnSpPr>
          <p:nvPr/>
        </p:nvCxnSpPr>
        <p:spPr>
          <a:xfrm>
            <a:off x="6115050" y="2998832"/>
            <a:ext cx="10152" cy="1153612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Abgerundetes Rechteck 26"/>
          <p:cNvSpPr/>
          <p:nvPr/>
        </p:nvSpPr>
        <p:spPr>
          <a:xfrm>
            <a:off x="9804397" y="1348852"/>
            <a:ext cx="2091488" cy="106459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Entdecken Sie den Admin-Bereich in unserem </a:t>
            </a:r>
            <a:r>
              <a:rPr lang="de-DE" sz="1400" dirty="0">
                <a:solidFill>
                  <a:schemeClr val="bg1"/>
                </a:solidFill>
                <a:hlinkClick r:id="rId11"/>
              </a:rPr>
              <a:t>Demo-Portal</a:t>
            </a:r>
            <a:r>
              <a:rPr lang="de-DE" sz="1400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323850" y="6436416"/>
            <a:ext cx="10401300" cy="3336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l"/>
            <a:r>
              <a:rPr lang="de-DE" sz="900" baseline="30000" dirty="0">
                <a:solidFill>
                  <a:schemeClr val="bg1"/>
                </a:solidFill>
              </a:rPr>
              <a:t>1</a:t>
            </a:r>
            <a:r>
              <a:rPr lang="de-DE" sz="900" dirty="0">
                <a:solidFill>
                  <a:schemeClr val="bg1"/>
                </a:solidFill>
              </a:rPr>
              <a:t>Die Funktionen für Vermittler, die zum Admin berechtigt wurden, sind eingeschränkt.</a:t>
            </a:r>
          </a:p>
        </p:txBody>
      </p:sp>
      <p:sp>
        <p:nvSpPr>
          <p:cNvPr id="29" name="Textplatzhalter 9">
            <a:extLst>
              <a:ext uri="{FF2B5EF4-FFF2-40B4-BE49-F238E27FC236}">
                <a16:creationId xmlns:a16="http://schemas.microsoft.com/office/drawing/2014/main" id="{4F21D7D0-F58D-4FAA-9067-9C2645151098}"/>
              </a:ext>
            </a:extLst>
          </p:cNvPr>
          <p:cNvSpPr txBox="1">
            <a:spLocks/>
          </p:cNvSpPr>
          <p:nvPr/>
        </p:nvSpPr>
        <p:spPr>
          <a:xfrm>
            <a:off x="479424" y="480762"/>
            <a:ext cx="9324973" cy="2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lang="de-DE" sz="1100" b="1" kern="1200" cap="all" spc="63" baseline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9352" marR="0" indent="-179352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394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37014" indent="-237014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352" indent="-179352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2739" indent="-122739" algn="l" defTabSz="1218926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Font typeface="+mj-lt"/>
              <a:buAutoNum type="arabicParenR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8926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100" b="1" i="0" u="none" strike="noStrike" kern="1200" cap="all" spc="63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ischaltung für das arbeitgeber-portal</a:t>
            </a:r>
            <a:endParaRPr kumimoji="0" lang="de-DE" sz="1100" b="1" i="0" u="none" strike="noStrike" kern="1200" cap="all" spc="63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Abgerundetes Rechteck 1"/>
          <p:cNvSpPr/>
          <p:nvPr/>
        </p:nvSpPr>
        <p:spPr>
          <a:xfrm>
            <a:off x="8543015" y="6222800"/>
            <a:ext cx="2522764" cy="293200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 smtClean="0">
                <a:solidFill>
                  <a:schemeClr val="bg1"/>
                </a:solidFill>
              </a:rPr>
              <a:t>Nur sichtbar für den </a:t>
            </a:r>
            <a:r>
              <a:rPr lang="de-DE" sz="1200" dirty="0" err="1" smtClean="0">
                <a:solidFill>
                  <a:schemeClr val="bg1"/>
                </a:solidFill>
              </a:rPr>
              <a:t>FirmenAdmin</a:t>
            </a:r>
            <a:endParaRPr lang="de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188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9A7A182-EF37-4E98-82D0-9EC00BBD7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e </a:t>
            </a:r>
            <a:r>
              <a:rPr lang="de-DE" dirty="0" smtClean="0"/>
              <a:t>Informationsstellen </a:t>
            </a:r>
            <a:r>
              <a:rPr lang="de-DE" dirty="0"/>
              <a:t>und</a:t>
            </a:r>
            <a:br>
              <a:rPr lang="de-DE" dirty="0"/>
            </a:br>
            <a:r>
              <a:rPr lang="de-DE" dirty="0"/>
              <a:t>Demo-Version auf </a:t>
            </a:r>
            <a:r>
              <a:rPr lang="de-DE" dirty="0">
                <a:solidFill>
                  <a:srgbClr val="13A0D3"/>
                </a:solidFill>
              </a:rPr>
              <a:t>firmenonline.de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04579A9-02EE-4C92-86BE-7BB6215558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Das bietet </a:t>
            </a:r>
            <a:r>
              <a:rPr lang="de-DE" dirty="0" err="1"/>
              <a:t>FirmenOnline</a:t>
            </a:r>
            <a:r>
              <a:rPr lang="de-DE" dirty="0"/>
              <a:t> | Unterstützung für Ihren Verkauf</a:t>
            </a:r>
            <a:r>
              <a:rPr lang="de-DE" dirty="0">
                <a:solidFill>
                  <a:srgbClr val="FF0000"/>
                </a:solidFill>
              </a:rPr>
              <a:t>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1B67B75-DBB7-4AB5-98D0-194D2FE838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205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96B16C-3F5F-44BC-AFCC-8CBCBD90898D}" type="slidenum">
              <a:rPr kumimoji="0" lang="de-DE" sz="800" b="1" i="0" u="none" strike="noStrike" kern="1200" cap="none" spc="0" normalizeH="0" baseline="0" noProof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205" rtl="0" eaLnBrk="1" fontAlgn="auto" latinLnBrk="0" hangingPunct="1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800" b="1" i="0" u="none" strike="noStrike" kern="1200" cap="none" spc="0" normalizeH="0" baseline="0" noProof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05AB15-DA03-45D2-994B-0725B277F5CB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/>
        <p:txBody>
          <a:bodyPr/>
          <a:lstStyle/>
          <a:p>
            <a:pPr marL="0" marR="0" lvl="0" indent="0" algn="l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© Allianz 2021</a:t>
            </a:r>
          </a:p>
        </p:txBody>
      </p:sp>
      <p:sp>
        <p:nvSpPr>
          <p:cNvPr id="17" name="Textfeld 16">
            <a:hlinkClick r:id="rId2"/>
            <a:extLst>
              <a:ext uri="{FF2B5EF4-FFF2-40B4-BE49-F238E27FC236}">
                <a16:creationId xmlns:a16="http://schemas.microsoft.com/office/drawing/2014/main" id="{D0B1C962-0C0A-4C88-8507-6802E4EFAD4F}"/>
              </a:ext>
            </a:extLst>
          </p:cNvPr>
          <p:cNvSpPr txBox="1"/>
          <p:nvPr/>
        </p:nvSpPr>
        <p:spPr>
          <a:xfrm>
            <a:off x="8025461" y="4437163"/>
            <a:ext cx="34758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s 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r Freischaltung 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s AG-Portals auf der </a:t>
            </a:r>
            <a:r>
              <a:rPr kumimoji="0" lang="de-DE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menOnline</a:t>
            </a:r>
            <a:r>
              <a:rPr kumimoji="0" lang="de-DE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andingpage 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feld 18">
            <a:hlinkClick r:id="rId3"/>
            <a:extLst>
              <a:ext uri="{FF2B5EF4-FFF2-40B4-BE49-F238E27FC236}">
                <a16:creationId xmlns:a16="http://schemas.microsoft.com/office/drawing/2014/main" id="{41B0CCBB-DE75-4A4F-B3CE-BDB687DFA3D2}"/>
              </a:ext>
            </a:extLst>
          </p:cNvPr>
          <p:cNvSpPr txBox="1"/>
          <p:nvPr/>
        </p:nvSpPr>
        <p:spPr>
          <a:xfrm>
            <a:off x="4754732" y="2088063"/>
            <a:ext cx="2213749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o-Version 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-Portal 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CD5768B0-4202-4777-9101-56C2C61ECC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9883" y="2436767"/>
            <a:ext cx="1963446" cy="1456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feld 21">
            <a:hlinkClick r:id="rId5"/>
            <a:extLst>
              <a:ext uri="{FF2B5EF4-FFF2-40B4-BE49-F238E27FC236}">
                <a16:creationId xmlns:a16="http://schemas.microsoft.com/office/drawing/2014/main" id="{0FB02ACD-C651-4C75-BE9E-D3DE50AD6190}"/>
              </a:ext>
            </a:extLst>
          </p:cNvPr>
          <p:cNvSpPr txBox="1"/>
          <p:nvPr/>
        </p:nvSpPr>
        <p:spPr>
          <a:xfrm>
            <a:off x="530680" y="4612667"/>
            <a:ext cx="26051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tivationsfilm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menOnline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3" name="Picture 4">
            <a:extLst>
              <a:ext uri="{FF2B5EF4-FFF2-40B4-BE49-F238E27FC236}">
                <a16:creationId xmlns:a16="http://schemas.microsoft.com/office/drawing/2014/main" id="{DFB74BFF-C705-443F-A4A4-A0A155E75A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844"/>
          <a:stretch/>
        </p:blipFill>
        <p:spPr bwMode="auto">
          <a:xfrm>
            <a:off x="922796" y="4922692"/>
            <a:ext cx="1820903" cy="226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98D97B3A-D9A3-4604-95C1-2F8AE58013ED}"/>
              </a:ext>
            </a:extLst>
          </p:cNvPr>
          <p:cNvGrpSpPr/>
          <p:nvPr/>
        </p:nvGrpSpPr>
        <p:grpSpPr>
          <a:xfrm>
            <a:off x="4426271" y="4291716"/>
            <a:ext cx="3070873" cy="2049331"/>
            <a:chOff x="2532009" y="3893484"/>
            <a:chExt cx="4160773" cy="2776670"/>
          </a:xfrm>
        </p:grpSpPr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3FF7D84B-F5D8-4A05-8287-86EF6A031A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32009" y="3893484"/>
              <a:ext cx="4160773" cy="277667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137B5675-09A5-464C-A70E-465DFF1A8D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54" t="153" r="614" b="10165"/>
            <a:stretch/>
          </p:blipFill>
          <p:spPr>
            <a:xfrm>
              <a:off x="3006837" y="4238845"/>
              <a:ext cx="3078125" cy="1899839"/>
            </a:xfrm>
            <a:prstGeom prst="rect">
              <a:avLst/>
            </a:prstGeom>
          </p:spPr>
        </p:pic>
      </p:grpSp>
      <p:pic>
        <p:nvPicPr>
          <p:cNvPr id="32" name="Picture 2">
            <a:extLst>
              <a:ext uri="{FF2B5EF4-FFF2-40B4-BE49-F238E27FC236}">
                <a16:creationId xmlns:a16="http://schemas.microsoft.com/office/drawing/2014/main" id="{BFA975AA-0D78-4043-A988-57CA35EAEA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230" y="5183316"/>
            <a:ext cx="1708036" cy="960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Abgerundetes Rechteck 16">
            <a:extLst>
              <a:ext uri="{FF2B5EF4-FFF2-40B4-BE49-F238E27FC236}">
                <a16:creationId xmlns:a16="http://schemas.microsoft.com/office/drawing/2014/main" id="{49513547-62C3-480D-950B-6BEB0899F3CD}"/>
              </a:ext>
            </a:extLst>
          </p:cNvPr>
          <p:cNvSpPr/>
          <p:nvPr/>
        </p:nvSpPr>
        <p:spPr>
          <a:xfrm>
            <a:off x="4226756" y="5580206"/>
            <a:ext cx="3469901" cy="305356"/>
          </a:xfrm>
          <a:prstGeom prst="roundRect">
            <a:avLst>
              <a:gd name="adj" fmla="val 6240"/>
            </a:avLst>
          </a:prstGeom>
          <a:solidFill>
            <a:schemeClr val="tx1"/>
          </a:solidFill>
          <a:ln w="15875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70" b="1" i="0" u="none" strike="noStrike" kern="1200" cap="all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ur Landingpage: </a:t>
            </a:r>
            <a:r>
              <a:rPr kumimoji="0" lang="de-DE" sz="1270" b="1" i="0" u="none" strike="noStrike" kern="1200" cap="all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0"/>
              </a:rPr>
              <a:t>firmenonline.de</a:t>
            </a:r>
            <a:endParaRPr kumimoji="0" lang="de-DE" sz="1270" b="1" i="0" u="none" strike="noStrike" kern="1200" cap="all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feld 23">
            <a:hlinkClick r:id="rId11"/>
            <a:extLst>
              <a:ext uri="{FF2B5EF4-FFF2-40B4-BE49-F238E27FC236}">
                <a16:creationId xmlns:a16="http://schemas.microsoft.com/office/drawing/2014/main" id="{196B494B-32AA-49ED-9170-50F4C0BA7BB2}"/>
              </a:ext>
            </a:extLst>
          </p:cNvPr>
          <p:cNvSpPr txBox="1"/>
          <p:nvPr/>
        </p:nvSpPr>
        <p:spPr>
          <a:xfrm>
            <a:off x="8444955" y="2088063"/>
            <a:ext cx="23022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menOnline</a:t>
            </a: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Newsletter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7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Grafik 2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43759" y="2535037"/>
            <a:ext cx="3039248" cy="87408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43759" y="5032259"/>
            <a:ext cx="3039248" cy="1080287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3777241" y="331576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noAutofit/>
          </a:bodyPr>
          <a:lstStyle/>
          <a:p>
            <a:pPr algn="l"/>
            <a:endParaRPr lang="de-DE" sz="1600" dirty="0" smtClean="0">
              <a:solidFill>
                <a:schemeClr val="bg1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514114" y="2088063"/>
            <a:ext cx="2638268" cy="2198288"/>
            <a:chOff x="514114" y="2088063"/>
            <a:chExt cx="2638268" cy="2198288"/>
          </a:xfrm>
        </p:grpSpPr>
        <p:sp>
          <p:nvSpPr>
            <p:cNvPr id="15" name="Inhaltsplatzhalter 11">
              <a:extLst>
                <a:ext uri="{FF2B5EF4-FFF2-40B4-BE49-F238E27FC236}">
                  <a16:creationId xmlns:a16="http://schemas.microsoft.com/office/drawing/2014/main" id="{8A0097A6-3868-4984-A43F-D97C87632E60}"/>
                </a:ext>
              </a:extLst>
            </p:cNvPr>
            <p:cNvSpPr txBox="1">
              <a:spLocks/>
            </p:cNvSpPr>
            <p:nvPr/>
          </p:nvSpPr>
          <p:spPr>
            <a:xfrm>
              <a:off x="514114" y="2088063"/>
              <a:ext cx="2638268" cy="603701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marL="0" indent="0" algn="l" defTabSz="96771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+mj-lt"/>
                <a:buNone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288000" indent="-288000" algn="l" defTabSz="96771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+mj-lt"/>
                <a:buAutoNum type="arabicPeriod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288000" indent="-288000" algn="l" defTabSz="96771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288000" indent="-288000" algn="l" defTabSz="96771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576000" indent="-288000" algn="l" defTabSz="96771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67710" rtl="0" eaLnBrk="1" latinLnBrk="0" hangingPunct="1">
                <a:lnSpc>
                  <a:spcPct val="100000"/>
                </a:lnSpc>
                <a:spcBef>
                  <a:spcPts val="2400"/>
                </a:spcBef>
                <a:buFont typeface="Arial" panose="020B0604020202020204" pitchFamily="34" charset="0"/>
                <a:buNone/>
                <a:defRPr sz="8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6771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None/>
                <a:defRPr sz="1800" kern="1200">
                  <a:solidFill>
                    <a:srgbClr val="FF0000"/>
                  </a:solidFill>
                  <a:latin typeface="+mn-lt"/>
                  <a:ea typeface="+mn-ea"/>
                  <a:cs typeface="+mn-cs"/>
                </a:defRPr>
              </a:lvl7pPr>
              <a:lvl8pPr marL="3628911" indent="-241927" algn="l" defTabSz="967710" rtl="0" eaLnBrk="1" latinLnBrk="0" hangingPunct="1">
                <a:lnSpc>
                  <a:spcPct val="90000"/>
                </a:lnSpc>
                <a:spcBef>
                  <a:spcPts val="529"/>
                </a:spcBef>
                <a:buFont typeface="Arial" panose="020B0604020202020204" pitchFamily="34" charset="0"/>
                <a:buChar char="•"/>
                <a:defRPr sz="19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12765" indent="-241927" algn="l" defTabSz="967710" rtl="0" eaLnBrk="1" latinLnBrk="0" hangingPunct="1">
                <a:lnSpc>
                  <a:spcPct val="90000"/>
                </a:lnSpc>
                <a:spcBef>
                  <a:spcPts val="529"/>
                </a:spcBef>
                <a:buFont typeface="Arial" panose="020B0604020202020204" pitchFamily="34" charset="0"/>
                <a:buChar char="•"/>
                <a:defRPr sz="1905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1800"/>
                </a:spcBef>
                <a:spcAft>
                  <a:spcPts val="0"/>
                </a:spcAft>
                <a:buClr>
                  <a:srgbClr val="003781"/>
                </a:buClr>
                <a:buSzTx/>
                <a:buFont typeface="+mj-lt"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ertriebsportal</a:t>
              </a:r>
              <a:r>
                <a:rPr kumimoji="0" lang="de-DE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für </a:t>
              </a:r>
              <a:r>
                <a:rPr kumimoji="0" lang="de-DE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hlinkClick r:id="rId14"/>
                </a:rPr>
                <a:t>Vertreter</a:t>
              </a:r>
              <a:r>
                <a:rPr kumimoji="0" lang="de-DE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und </a:t>
              </a:r>
              <a:r>
                <a:rPr kumimoji="0" lang="de-DE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hlinkClick r:id="rId15"/>
                </a:rPr>
                <a:t>Makler</a:t>
              </a:r>
              <a:r>
                <a:rPr kumimoji="0" lang="de-DE" sz="1400" b="0" i="0" u="none" strike="noStrike" kern="1200" cap="none" spc="0" normalizeH="0" noProof="0" dirty="0" smtClean="0">
                  <a:ln>
                    <a:noFill/>
                  </a:ln>
                  <a:solidFill>
                    <a:srgbClr val="00378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endPara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0378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737758" y="2590802"/>
              <a:ext cx="2315152" cy="1695549"/>
            </a:xfrm>
            <a:prstGeom prst="rect">
              <a:avLst/>
            </a:prstGeom>
            <a:ln>
              <a:solidFill>
                <a:schemeClr val="tx1">
                  <a:lumMod val="9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846084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D01B675A-526F-4C3B-A7FC-5F45534A60DD}"/>
    </a:ext>
  </a:extLst>
</a:theme>
</file>

<file path=ppt/theme/theme2.xml><?xml version="1.0" encoding="utf-8"?>
<a:theme xmlns:a="http://schemas.openxmlformats.org/drawingml/2006/main" name="Trenner und Endfolien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3959A199-0AC8-4542-B49B-A4C0BE0A73BB}"/>
    </a:ext>
  </a:extLst>
</a:theme>
</file>

<file path=ppt/theme/theme3.xml><?xml version="1.0" encoding="utf-8"?>
<a:theme xmlns:a="http://schemas.openxmlformats.org/drawingml/2006/main" name="Inhaltsfolien weiß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dirty="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E242EEF2-FFF2-4E4C-A6AD-3A2043CAFE58}"/>
    </a:ext>
  </a:extLst>
</a:theme>
</file>

<file path=ppt/theme/theme4.xml><?xml version="1.0" encoding="utf-8"?>
<a:theme xmlns:a="http://schemas.openxmlformats.org/drawingml/2006/main" name="Inhaltsfolien blau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  <a:extLst>
    <a:ext uri="{05A4C25C-085E-4340-85A3-A5531E510DB2}">
      <thm15:themeFamily xmlns:thm15="http://schemas.microsoft.com/office/thememl/2012/main" name="Blank.potx" id="{61808EEC-EADB-4653-8504-9124FE845DC5}" vid="{07718B49-85BD-4423-A355-1F90D3BAC6F6}"/>
    </a:ext>
  </a:extLst>
</a:theme>
</file>

<file path=ppt/theme/theme5.xml><?xml version="1.0" encoding="utf-8"?>
<a:theme xmlns:a="http://schemas.openxmlformats.org/drawingml/2006/main" name="Title charts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6.xml><?xml version="1.0" encoding="utf-8"?>
<a:theme xmlns:a="http://schemas.openxmlformats.org/drawingml/2006/main" name="1_AIC_2018_16zu9">
  <a:themeElements>
    <a:clrScheme name="AZD">
      <a:dk1>
        <a:srgbClr val="000000"/>
      </a:dk1>
      <a:lt1>
        <a:srgbClr val="FFFFFF"/>
      </a:lt1>
      <a:dk2>
        <a:srgbClr val="003781"/>
      </a:dk2>
      <a:lt2>
        <a:srgbClr val="D4CDCD"/>
      </a:lt2>
      <a:accent1>
        <a:srgbClr val="96DCFA"/>
      </a:accent1>
      <a:accent2>
        <a:srgbClr val="CCDD61"/>
      </a:accent2>
      <a:accent3>
        <a:srgbClr val="FDD25C"/>
      </a:accent3>
      <a:accent4>
        <a:srgbClr val="DAD0E1"/>
      </a:accent4>
      <a:accent5>
        <a:srgbClr val="FF934F"/>
      </a:accent5>
      <a:accent6>
        <a:srgbClr val="B1DADD"/>
      </a:accent6>
      <a:hlink>
        <a:srgbClr val="003781"/>
      </a:hlink>
      <a:folHlink>
        <a:srgbClr val="5A3982"/>
      </a:folHlink>
    </a:clrScheme>
    <a:fontScheme name="Allianz_Arial_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4F2F2"/>
        </a:solidFill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100"/>
          </a:spcBef>
          <a:spcAft>
            <a:spcPts val="100"/>
          </a:spcAft>
          <a:defRPr sz="1400" dirty="0" smtClean="0"/>
        </a:defPPr>
      </a:lstStyle>
    </a:spDef>
    <a:txDef>
      <a:spPr/>
      <a:bodyPr vert="horz" wrap="square" lIns="72000" tIns="72000" rIns="72000" bIns="72000" rtlCol="0">
        <a:spAutoFit/>
      </a:bodyPr>
      <a:lstStyle>
        <a:defPPr>
          <a:defRPr sz="1800" dirty="0" smtClean="0"/>
        </a:defPPr>
      </a:lstStyle>
    </a:txDef>
  </a:objectDefaults>
  <a:extraClrSchemeLst/>
  <a:custClrLst>
    <a:custClr name="rgb(90,83,96)">
      <a:srgbClr val="5A5360"/>
    </a:custClr>
    <a:custClr name="rgb(215,211,217)">
      <a:srgbClr val="D7D3D9"/>
    </a:custClr>
    <a:custClr name="rgb(90,57,130)">
      <a:srgbClr val="5A3982"/>
    </a:custClr>
    <a:custClr name="rgb(218,208,225)">
      <a:srgbClr val="DAD0E1"/>
    </a:custClr>
    <a:custClr name="rgb(91,93,48)">
      <a:srgbClr val="5B5D30"/>
    </a:custClr>
    <a:custClr name="rgb(212,213,200)">
      <a:srgbClr val="D4D5C8"/>
    </a:custClr>
    <a:custClr name="rgb(64,125,113)">
      <a:srgbClr val="407D71"/>
    </a:custClr>
    <a:custClr name="rgb(195,216,212)">
      <a:srgbClr val="C3D8D4"/>
    </a:custClr>
    <a:custClr name="rgb(73,100,140)">
      <a:srgbClr val="49648C"/>
    </a:custClr>
    <a:custClr name="rgb(202,212,222)">
      <a:srgbClr val="CAD4DE"/>
    </a:custClr>
    <a:custClr name="rgb(183,30,63)">
      <a:srgbClr val="B71E3F"/>
    </a:custClr>
    <a:custClr name="rgb(241,200,208)">
      <a:srgbClr val="F1C8D0"/>
    </a:custClr>
    <a:custClr name="rgb(0,125,140)">
      <a:srgbClr val="007D8C"/>
    </a:custClr>
    <a:custClr name="rgb(177,218,221)">
      <a:srgbClr val="B1DADD"/>
    </a:custClr>
    <a:custClr name="rgb(192,221,189)">
      <a:srgbClr val="C0DDBD"/>
    </a:custClr>
    <a:custClr name="rgb(223,238,222)">
      <a:srgbClr val="DFEEDE"/>
    </a:custClr>
    <a:custClr name="rgb(239,246,238)">
      <a:srgbClr val="EFF6EE"/>
    </a:custClr>
    <a:custClr name="rgb(234,207,192)">
      <a:srgbClr val="EACFC0"/>
    </a:custClr>
    <a:custClr name="rgb(243,229,223)">
      <a:srgbClr val="F3E5DF"/>
    </a:custClr>
    <a:custClr name="rgb(249,242,239)">
      <a:srgbClr val="F9F2EF"/>
    </a:custClr>
    <a:custClr name="rgb(212,205,205)">
      <a:srgbClr val="D4CDCD"/>
    </a:custClr>
    <a:custClr name="rgb(239,232,230)">
      <a:srgbClr val="EFE8E6"/>
    </a:custClr>
    <a:custClr name="rgb(248,244,242)">
      <a:srgbClr val="F8F4F2"/>
    </a:custClr>
    <a:custClr name="rgb(207,233,238)">
      <a:srgbClr val="CFE9EE"/>
    </a:custClr>
    <a:custClr name="rgb(230,244,246)">
      <a:srgbClr val="E6F4F6"/>
    </a:custClr>
    <a:custClr name="rgb(241,249,250)">
      <a:srgbClr val="F1F9FA"/>
    </a:custClr>
    <a:custClr name="rgb(235,225,191)">
      <a:srgbClr val="EBE1BF"/>
    </a:custClr>
    <a:custClr name="rgb(245,240,224)">
      <a:srgbClr val="F5F0E0"/>
    </a:custClr>
    <a:custClr name="rgb(250,247,239)">
      <a:srgbClr val="FAF7EF"/>
    </a:custClr>
    <a:custClr name="rgb(0,55,129)">
      <a:srgbClr val="003781"/>
    </a:custClr>
    <a:custClr name="rgb(238,204,213)">
      <a:srgbClr val="EECCD5"/>
    </a:custClr>
    <a:custClr name="rgb(246,229,234)">
      <a:srgbClr val="F6E5EA"/>
    </a:custClr>
    <a:custClr name="rgb(251,242,244)">
      <a:srgbClr val="FBF2F4"/>
    </a:custClr>
    <a:custClr name="rgb(219,211,189)">
      <a:srgbClr val="DBD3BD"/>
    </a:custClr>
    <a:custClr name="rgb(235,231,219)">
      <a:srgbClr val="EBE7DB"/>
    </a:custClr>
    <a:custClr name="rgb(245,243,237)">
      <a:srgbClr val="F5F3ED"/>
    </a:custClr>
    <a:custClr name="rgb(204,221,97)">
      <a:srgbClr val="CCDD61"/>
    </a:custClr>
    <a:custClr name="rgb(227,235,175)">
      <a:srgbClr val="E3EBAF"/>
    </a:custClr>
    <a:custClr name="rgb(150,220,250)">
      <a:srgbClr val="96DCFA"/>
    </a:custClr>
    <a:custClr name="rgb(193,235,251)">
      <a:srgbClr val="C1EBFB"/>
    </a:custClr>
    <a:custClr name="rgb(138,103,156)">
      <a:srgbClr val="8A679C"/>
    </a:custClr>
    <a:custClr name="rgb(225,207,234)">
      <a:srgbClr val="E1CFEA"/>
    </a:custClr>
    <a:custClr name="rgb(228,0,58)">
      <a:srgbClr val="E4003A"/>
    </a:custClr>
    <a:custClr name="rgb(247,199,195)">
      <a:srgbClr val="F7C7C3"/>
    </a:custClr>
    <a:custClr name="rgb(127,228,224)">
      <a:srgbClr val="7FE4E0"/>
    </a:custClr>
    <a:custClr name="rgb(195,232,231)">
      <a:srgbClr val="C3E8E7"/>
    </a:custClr>
    <a:custClr name="rgb(253,210,92)">
      <a:srgbClr val="FDD25C"/>
    </a:custClr>
    <a:custClr name="rgb(255,232,176)">
      <a:srgbClr val="FFE8B0"/>
    </a:custClr>
    <a:custClr name="rgb(255,147,79)">
      <a:srgbClr val="FF934F"/>
    </a:custClr>
    <a:custClr name="rgb(247,202,171)">
      <a:srgbClr val="F7CAAB"/>
    </a:custClr>
  </a:custClrLst>
  <a:extLst>
    <a:ext uri="{05A4C25C-085E-4340-85A3-A5531E510DB2}">
      <thm15:themeFamily xmlns:thm15="http://schemas.microsoft.com/office/thememl/2012/main" name="AIC 16_9.potx" id="{D94132AC-686B-4C09-825C-73A9FE5398F3}" vid="{8A83F24E-0BD8-4983-841F-454437C8DB89}"/>
    </a:ext>
  </a:extLst>
</a:theme>
</file>

<file path=ppt/theme/theme7.xml><?xml version="1.0" encoding="utf-8"?>
<a:theme xmlns:a="http://schemas.openxmlformats.org/drawingml/2006/main" name="1_Content charts white">
  <a:themeElements>
    <a:clrScheme name="AllianzBlue">
      <a:dk1>
        <a:srgbClr val="003781"/>
      </a:dk1>
      <a:lt1>
        <a:srgbClr val="FFFFFF"/>
      </a:lt1>
      <a:dk2>
        <a:srgbClr val="414141"/>
      </a:dk2>
      <a:lt2>
        <a:srgbClr val="CFCFCF"/>
      </a:lt2>
      <a:accent1>
        <a:srgbClr val="122B54"/>
      </a:accent1>
      <a:accent2>
        <a:srgbClr val="006192"/>
      </a:accent2>
      <a:accent3>
        <a:srgbClr val="007AB3"/>
      </a:accent3>
      <a:accent4>
        <a:srgbClr val="13A0D3"/>
      </a:accent4>
      <a:accent5>
        <a:srgbClr val="B5DAE6"/>
      </a:accent5>
      <a:accent6>
        <a:srgbClr val="DFEFF2"/>
      </a:accent6>
      <a:hlink>
        <a:srgbClr val="003781"/>
      </a:hlink>
      <a:folHlink>
        <a:srgbClr val="B4B4B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22B5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t" anchorCtr="0">
        <a:noAutofit/>
      </a:bodyPr>
      <a:lstStyle>
        <a:defPPr algn="l">
          <a:defRPr sz="1600" smtClean="0">
            <a:solidFill>
              <a:schemeClr val="bg1"/>
            </a:solidFill>
          </a:defRPr>
        </a:defPPr>
      </a:lstStyle>
    </a:txDef>
  </a:objectDefaults>
  <a:extraClrSchemeLst>
    <a:extraClrScheme>
      <a:clrScheme name="AllianzBlue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122B54"/>
        </a:accent1>
        <a:accent2>
          <a:srgbClr val="006192"/>
        </a:accent2>
        <a:accent3>
          <a:srgbClr val="007AB3"/>
        </a:accent3>
        <a:accent4>
          <a:srgbClr val="13A0D3"/>
        </a:accent4>
        <a:accent5>
          <a:srgbClr val="B5DAE6"/>
        </a:accent5>
        <a:accent6>
          <a:srgbClr val="DFEFF2"/>
        </a:accent6>
        <a:hlink>
          <a:srgbClr val="003781"/>
        </a:hlink>
        <a:folHlink>
          <a:srgbClr val="B4B4B4"/>
        </a:folHlink>
      </a:clrScheme>
    </a:extraClrScheme>
    <a:extraClrScheme>
      <a:clrScheme name="AllianzVibrant">
        <a:dk1>
          <a:srgbClr val="003781"/>
        </a:dk1>
        <a:lt1>
          <a:srgbClr val="FFFFFF"/>
        </a:lt1>
        <a:dk2>
          <a:srgbClr val="414141"/>
        </a:dk2>
        <a:lt2>
          <a:srgbClr val="CFCFCF"/>
        </a:lt2>
        <a:accent1>
          <a:srgbClr val="00908D"/>
        </a:accent1>
        <a:accent2>
          <a:srgbClr val="5FCD8A"/>
        </a:accent2>
        <a:accent3>
          <a:srgbClr val="A6276F"/>
        </a:accent3>
        <a:accent4>
          <a:srgbClr val="F62459"/>
        </a:accent4>
        <a:accent5>
          <a:srgbClr val="F86200"/>
        </a:accent5>
        <a:accent6>
          <a:srgbClr val="FAB600"/>
        </a:accent6>
        <a:hlink>
          <a:srgbClr val="003781"/>
        </a:hlink>
        <a:folHlink>
          <a:srgbClr val="B4B4B4"/>
        </a:folHlink>
      </a:clrScheme>
    </a:extraClrScheme>
  </a:extraClrSchemeLst>
  <a:custClrLst>
    <a:custClr name="rgb(18,43,84)">
      <a:srgbClr val="122B54"/>
    </a:custClr>
    <a:custClr name="rgb(0,97,146)">
      <a:srgbClr val="006192"/>
    </a:custClr>
    <a:custClr name="rgb(0,122,179)">
      <a:srgbClr val="007AB3"/>
    </a:custClr>
    <a:custClr name="rgb(19,160,211)">
      <a:srgbClr val="13A0D3"/>
    </a:custClr>
    <a:custClr name="rgb(181,218,230)">
      <a:srgbClr val="B5DAE6"/>
    </a:custClr>
    <a:custClr name="rgb(223,239,242)">
      <a:srgbClr val="DFEFF2"/>
    </a:custClr>
    <a:custClr name="rgb(0,144,141)">
      <a:srgbClr val="00908D"/>
    </a:custClr>
    <a:custClr name="rgb(95,205,138)">
      <a:srgbClr val="5FCD8A"/>
    </a:custClr>
    <a:custClr name="rgb(166,39,111)">
      <a:srgbClr val="A6276F"/>
    </a:custClr>
    <a:custClr name="rgb(246,36,89)">
      <a:srgbClr val="F62459"/>
    </a:custClr>
    <a:custClr name="rgb(248,98,0)">
      <a:srgbClr val="F86200"/>
    </a:custClr>
    <a:custClr name="rgb(250,182,0)">
      <a:srgbClr val="FAB600"/>
    </a:custClr>
  </a:custClrLst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ff4caa5-044e-4b85-8155-89b3a7b61d28">
      <Terms xmlns="http://schemas.microsoft.com/office/infopath/2007/PartnerControls"/>
    </lcf76f155ced4ddcb4097134ff3c332f>
    <ContractStatus xmlns="c27cf8af-65d7-4264-9ae5-7a696d441928">Entwurf</ContractStatus>
    <ContractDate xmlns="c27cf8af-65d7-4264-9ae5-7a696d441928" xsi:nil="true"/>
    <ExternalContractingParties xmlns="c27cf8af-65d7-4264-9ae5-7a696d441928" xsi:nil="true"/>
    <OutsourcingAgreement xmlns="c27cf8af-65d7-4264-9ae5-7a696d441928" xsi:nil="true"/>
    <MaterialContract xmlns="c27cf8af-65d7-4264-9ae5-7a696d441928" xsi:nil="true"/>
    <DocumentSetDescription xmlns="http://schemas.microsoft.com/sharepoint/v3" xsi:nil="true"/>
    <TaxCatchAll xmlns="c27cf8af-65d7-4264-9ae5-7a696d441928" xsi:nil="true"/>
    <PlaceOfOriginal xmlns="c27cf8af-65d7-4264-9ae5-7a696d441928" xsi:nil="true"/>
    <ContractType xmlns="c27cf8af-65d7-4264-9ae5-7a696d441928" xsi:nil="true"/>
    <ContractManagers xmlns="c27cf8af-65d7-4264-9ae5-7a696d441928">
      <UserInfo>
        <DisplayName/>
        <AccountId xsi:nil="true"/>
        <AccountType/>
      </UserInfo>
    </ContractManagers>
    <ContractExpirationDate xmlns="c27cf8af-65d7-4264-9ae5-7a696d441928" xsi:nil="true"/>
    <ConversationID xmlns="c27cf8af-65d7-4264-9ae5-7a696d441928" xsi:nil="true"/>
    <DocumentClass xmlns="c27cf8af-65d7-4264-9ae5-7a696d44192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 oder Email" ma:contentTypeID="0x010100125D78925D459C4792E0AB097CA57A8700FAC6EE99810BDC4EBF7068FDAC12E07A" ma:contentTypeVersion="39" ma:contentTypeDescription="Standard-Inhaltstyp für Dokumente/ Emails ohne besondere Relevanz." ma:contentTypeScope="" ma:versionID="41834da73a75ad49e7ad302f1dd762cf">
  <xsd:schema xmlns:xsd="http://www.w3.org/2001/XMLSchema" xmlns:xs="http://www.w3.org/2001/XMLSchema" xmlns:p="http://schemas.microsoft.com/office/2006/metadata/properties" xmlns:ns1="http://schemas.microsoft.com/sharepoint/v3" xmlns:ns2="c27cf8af-65d7-4264-9ae5-7a696d441928" xmlns:ns3="fff4caa5-044e-4b85-8155-89b3a7b61d28" targetNamespace="http://schemas.microsoft.com/office/2006/metadata/properties" ma:root="true" ma:fieldsID="6c42f592e7dfe113262881051de5c5e9" ns1:_="" ns2:_="" ns3:_="">
    <xsd:import namespace="http://schemas.microsoft.com/sharepoint/v3"/>
    <xsd:import namespace="c27cf8af-65d7-4264-9ae5-7a696d441928"/>
    <xsd:import namespace="fff4caa5-044e-4b85-8155-89b3a7b61d28"/>
    <xsd:element name="properties">
      <xsd:complexType>
        <xsd:sequence>
          <xsd:element name="documentManagement">
            <xsd:complexType>
              <xsd:all>
                <xsd:element ref="ns2:ContractType" minOccurs="0"/>
                <xsd:element ref="ns2:ContractStatus" minOccurs="0"/>
                <xsd:element ref="ns2:ContractManagers" minOccurs="0"/>
                <xsd:element ref="ns2:OutsourcingAgreement" minOccurs="0"/>
                <xsd:element ref="ns2:ContractDate" minOccurs="0"/>
                <xsd:element ref="ns2:ContractExpirationDate" minOccurs="0"/>
                <xsd:element ref="ns2:MaterialContract" minOccurs="0"/>
                <xsd:element ref="ns2:ExternalContractingParties" minOccurs="0"/>
                <xsd:element ref="ns2:PlaceOfOriginal" minOccurs="0"/>
                <xsd:element ref="ns2:ConversationID" minOccurs="0"/>
                <xsd:element ref="ns2:DocumentClass" minOccurs="0"/>
                <xsd:element ref="ns1:DocumentSetDescription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GenerationTime" minOccurs="0"/>
                <xsd:element ref="ns3:MediaServiceEventHashCode" minOccurs="0"/>
                <xsd:element ref="ns2:SharedWithUsers" minOccurs="0"/>
                <xsd:element ref="ns2:SharedWithDetail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ocumentSetDescription" ma:index="19" nillable="true" ma:displayName="Beschreibung" ma:description="Eine Beschreibung der Dokumentenmappe" ma:internalName="DocumentSetDescriptio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7cf8af-65d7-4264-9ae5-7a696d441928" elementFormDefault="qualified">
    <xsd:import namespace="http://schemas.microsoft.com/office/2006/documentManagement/types"/>
    <xsd:import namespace="http://schemas.microsoft.com/office/infopath/2007/PartnerControls"/>
    <xsd:element name="ContractType" ma:index="8" nillable="true" ma:displayName="Vertragsart" ma:description="Attribut zur Klassifizierung des Vertrags. Bitte wählen Sie einen Wert aus der Kategorie Standard Vertragsarten oder Besondere Vertragsarten." ma:format="Dropdown" ma:hidden="true" ma:internalName="ContractType" ma:readOnly="false">
      <xsd:simpleType>
        <xsd:restriction base="dms:Choice">
          <xsd:enumeration value="Standard Vertragsarten (bitte wählen Sie einen Wert aus der Liste):"/>
          <xsd:enumeration value="-----------------------"/>
          <xsd:enumeration value="Dienstleistungsvereinbarung"/>
          <xsd:enumeration value="Kaufvertrag"/>
          <xsd:enumeration value="Kreditvertrag"/>
          <xsd:enumeration value="Vertraulichkeitsvereinbarung"/>
          <xsd:enumeration value="Kooperationsvertrag"/>
          <xsd:enumeration value="Absichtserklärung, Einverständniserklärung"/>
          <xsd:enumeration value="Versicherungsvertrag"/>
          <xsd:enumeration value="Sicherheit, Verwaltungsschreiben, Beglaubigung"/>
          <xsd:enumeration value="Sonstiges"/>
          <xsd:enumeration value="-----------------------"/>
          <xsd:enumeration value="Besondere Vertragsarten (bitte wählen Sie einen Wert aus der Liste):"/>
          <xsd:enumeration value="-----------------------"/>
          <xsd:enumeration value="Arbeitsvertrag"/>
          <xsd:enumeration value="Miet- oder Leasingvertrag"/>
          <xsd:enumeration value="Lizenzvereinbarung"/>
          <xsd:enumeration value="Datenschutzvereinbarung"/>
          <xsd:enumeration value="Vertretungsvereinbarung (gebundener Vertreter)"/>
          <xsd:enumeration value="Provisionsvereinbarung (Makler)"/>
          <xsd:enumeration value="Vertriebsvereinbarung"/>
          <xsd:enumeration value="Arbeitgeber - Betriebsrat / Gewerkschaftsvertrag"/>
          <xsd:enumeration value="Investitions- oder Finanzierungsvertrag"/>
          <xsd:enumeration value="Rückversicherungsvertrag"/>
          <xsd:enumeration value="Aktionärsvertrag"/>
          <xsd:enumeration value="Kontrollabkommen oder Gewinnabführungsvertrag"/>
          <xsd:enumeration value="Joint-Venture-Vertrag"/>
          <xsd:enumeration value="Sicherheitsübereignungsvertrag"/>
          <xsd:enumeration value="Beteiligung oder Unternehmenskauf / Fusionsvertrag"/>
          <xsd:enumeration value="Vertrag mit einem Mitglied des Vorstands oder Aufsichtsrats"/>
        </xsd:restriction>
      </xsd:simpleType>
    </xsd:element>
    <xsd:element name="ContractStatus" ma:index="9" nillable="true" ma:displayName="Vertragsstatus" ma:default="Entwurf" ma:description="Status des Vertrags" ma:format="Dropdown" ma:hidden="true" ma:internalName="ContractStatus" ma:readOnly="false">
      <xsd:simpleType>
        <xsd:restriction base="dms:Choice">
          <xsd:enumeration value="Entwurf"/>
          <xsd:enumeration value="Aktiv"/>
          <xsd:enumeration value="Abgelaufen"/>
        </xsd:restriction>
      </xsd:simpleType>
    </xsd:element>
    <xsd:element name="ContractManagers" ma:index="10" nillable="true" ma:displayName="Vertragsmanager" ma:description="Person(en), die den Vertrag managen und über detailierte Informationen darüber besitzen." ma:hidden="true" ma:list="UserInfo" ma:internalName="ContractManag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utsourcingAgreement" ma:index="11" nillable="true" ma:displayName="Auslagerungsvertrag" ma:description="Kennzeichnung, ob der Vertrag ein Auslagerungsvertrag gemäß der gruppenweiten Auslagerungsrichtlinie darstellt." ma:format="Dropdown" ma:hidden="true" ma:internalName="OutsourcingAgreement" ma:readOnly="false">
      <xsd:simpleType>
        <xsd:restriction base="dms:Boolean"/>
      </xsd:simpleType>
    </xsd:element>
    <xsd:element name="ContractDate" ma:index="12" nillable="true" ma:displayName="Vertragsdatum" ma:description="Datum, an dem der Vertrag geschlossen wurde." ma:format="DateOnly" ma:hidden="true" ma:internalName="ContractDate" ma:readOnly="false">
      <xsd:simpleType>
        <xsd:restriction base="dms:DateTime"/>
      </xsd:simpleType>
    </xsd:element>
    <xsd:element name="ContractExpirationDate" ma:index="13" nillable="true" ma:displayName="Außerkrafttreten des Vertrags" ma:description="Datum, an dem der Vertrag außer Kraft tritt/ trat." ma:format="DateOnly" ma:hidden="true" ma:internalName="ContractExpirationDate" ma:readOnly="false">
      <xsd:simpleType>
        <xsd:restriction base="dms:DateTime"/>
      </xsd:simpleType>
    </xsd:element>
    <xsd:element name="MaterialContract" ma:index="14" nillable="true" ma:displayName="Materieller Vertrag" ma:description="Kennzeichnung, ob der Vertrag von wesentlicher Bedeutung ist." ma:format="Dropdown" ma:hidden="true" ma:internalName="MaterialContract" ma:readOnly="false">
      <xsd:simpleType>
        <xsd:restriction base="dms:Boolean"/>
      </xsd:simpleType>
    </xsd:element>
    <xsd:element name="ExternalContractingParties" ma:index="15" nillable="true" ma:displayName="Externe Vertragspartner" ma:description="Name(n) der externen Vertragspartei(en)" ma:hidden="true" ma:internalName="ExternalContractingParties" ma:readOnly="false">
      <xsd:simpleType>
        <xsd:restriction base="dms:Text"/>
      </xsd:simpleType>
    </xsd:element>
    <xsd:element name="PlaceOfOriginal" ma:index="16" nillable="true" ma:displayName="Ort des Originaldokuments" ma:description="Ort der analogen Originalversion des Vertrags, falls vorhanden." ma:hidden="true" ma:internalName="PlaceOfOriginal" ma:readOnly="false">
      <xsd:simpleType>
        <xsd:restriction base="dms:Text"/>
      </xsd:simpleType>
    </xsd:element>
    <xsd:element name="ConversationID" ma:index="17" nillable="true" ma:displayName="Konversations-ID der Email." ma:description="Konversations-ID" ma:hidden="true" ma:internalName="ConversationID" ma:readOnly="false">
      <xsd:simpleType>
        <xsd:restriction base="dms:Text"/>
      </xsd:simpleType>
    </xsd:element>
    <xsd:element name="DocumentClass" ma:index="18" nillable="true" ma:displayName="Dokumentenkategorie" ma:description="Attribut zur Klassifizierung des Dokuments gemäß den Vorgaben zur Dokumentenaufbewahrung." ma:format="Dropdown" ma:hidden="true" ma:internalName="DocumentClass" ma:readOnly="false">
      <xsd:simpleType>
        <xsd:restriction base="dms:Choice">
          <xsd:enumeration value="Geschäftsbrief"/>
          <xsd:enumeration value="Buchhaltungsdokument"/>
          <xsd:enumeration value="Wichtige Dokumentation oder Entscheidun"/>
          <xsd:enumeration value="Entscheidung einer Aufsichtsbehörde"/>
          <xsd:enumeration value="Entscheidung einer Behörde"/>
          <xsd:enumeration value="Entscheidungsdokumentation des Vorstands"/>
          <xsd:enumeration value="Entscheidungsdokumentation des Aufsichtsrats"/>
          <xsd:enumeration value="Finanzbericht oder Buchhaltung"/>
          <xsd:enumeration value="Geschäftsbuch oder Liste von Vermögenswerten"/>
          <xsd:enumeration value="Finanzbericht oder Buchhaltung"/>
          <xsd:enumeration value="Unternehmensrichtlinie"/>
          <xsd:enumeration value="Statusbericht, Gesellschaftervertrag, oder sonstiges Gesellschaftsdokument"/>
          <xsd:enumeration value="Dokumentation über Anti-Geldwäsche oder ökonomische Sanktionen"/>
        </xsd:restriction>
      </xsd:simpleType>
    </xsd:element>
    <xsd:element name="TaxCatchAll" ma:index="28" nillable="true" ma:displayName="Taxonomy Catch All Column" ma:hidden="true" ma:list="{c413fb93-ba48-4460-9a98-d9482d155da3}" ma:internalName="TaxCatchAll" ma:showField="CatchAllData" ma:web="c27cf8af-65d7-4264-9ae5-7a696d44192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3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2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f4caa5-044e-4b85-8155-89b3a7b61d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2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7" nillable="true" ma:taxonomy="true" ma:internalName="lcf76f155ced4ddcb4097134ff3c332f" ma:taxonomyFieldName="MediaServiceImageTags" ma:displayName="Bildmarkierungen" ma:readOnly="false" ma:fieldId="{5cf76f15-5ced-4ddc-b409-7134ff3c332f}" ma:taxonomyMulti="true" ma:sspId="10820af1-e82f-496e-bbcb-d9502914b7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2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3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3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9EEEB4-116B-45D7-A00E-4485C1BF49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238861-3DAC-4F8A-8FBD-A33F14A90246}">
  <ds:schemaRefs>
    <ds:schemaRef ds:uri="http://purl.org/dc/elements/1.1/"/>
    <ds:schemaRef ds:uri="http://schemas.microsoft.com/office/2006/metadata/properties"/>
    <ds:schemaRef ds:uri="c72a1869-58d2-4854-bbb7-6c82a609f92c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F9E8A51-10F8-4D68-B75D-9F6E2C2308C1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8</Words>
  <Application>Microsoft Office PowerPoint</Application>
  <PresentationFormat>Breitbild</PresentationFormat>
  <Paragraphs>90</Paragraphs>
  <Slides>7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0" baseType="lpstr">
      <vt:lpstr>Arial</vt:lpstr>
      <vt:lpstr>Arial Unicode MS</vt:lpstr>
      <vt:lpstr>Calibri</vt:lpstr>
      <vt:lpstr>Symbol</vt:lpstr>
      <vt:lpstr>Wingdings</vt:lpstr>
      <vt:lpstr>Titelfolien</vt:lpstr>
      <vt:lpstr>Trenner und Endfolien</vt:lpstr>
      <vt:lpstr>Inhaltsfolien weiß</vt:lpstr>
      <vt:lpstr>Inhaltsfolien blau</vt:lpstr>
      <vt:lpstr>Title charts</vt:lpstr>
      <vt:lpstr>1_AIC_2018_16zu9</vt:lpstr>
      <vt:lpstr>1_Content charts white</vt:lpstr>
      <vt:lpstr>think-cell Folie</vt:lpstr>
      <vt:lpstr>FirmenOnline Basisschulung  Freischaltung für das Arbeitgeber-Portal</vt:lpstr>
      <vt:lpstr>Agenda</vt:lpstr>
      <vt:lpstr>Wie bekomme ich einen Account für FirmenOnline?</vt:lpstr>
      <vt:lpstr>Die Beteiligten beim Freischaltungsprozess</vt:lpstr>
      <vt:lpstr>Das Konzept des FirmenAdmins</vt:lpstr>
      <vt:lpstr>Die Funktionen des Admin-Bereichs</vt:lpstr>
      <vt:lpstr>Zentrale Informationsstellen und Demo-Version auf firmenonline.de</vt:lpstr>
    </vt:vector>
  </TitlesOfParts>
  <Company>Allianz Deutsch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rmenOnline Basisschulung  Die Freischaltung für das Arbeitgeber-Portal</dc:title>
  <dc:creator>Fingerhut, Stephanie (Allianz Lebensversicherungs-AG)</dc:creator>
  <cp:lastModifiedBy>Fingerhut, Stephanie (Allianz Lebensversicherungs-AG)</cp:lastModifiedBy>
  <cp:revision>25</cp:revision>
  <cp:lastPrinted>2023-06-15T13:15:31Z</cp:lastPrinted>
  <dcterms:created xsi:type="dcterms:W3CDTF">2023-06-07T13:22:55Z</dcterms:created>
  <dcterms:modified xsi:type="dcterms:W3CDTF">2023-06-15T13:1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5D78925D459C4792E0AB097CA57A8700FAC6EE99810BDC4EBF7068FDAC12E07A</vt:lpwstr>
  </property>
  <property fmtid="{D5CDD505-2E9C-101B-9397-08002B2CF9AE}" pid="3" name="_AdHocReviewCycleID">
    <vt:i4>226763222</vt:i4>
  </property>
  <property fmtid="{D5CDD505-2E9C-101B-9397-08002B2CF9AE}" pid="4" name="_NewReviewCycle">
    <vt:lpwstr/>
  </property>
  <property fmtid="{D5CDD505-2E9C-101B-9397-08002B2CF9AE}" pid="5" name="_EmailSubject">
    <vt:lpwstr>PPT Master finale Version</vt:lpwstr>
  </property>
  <property fmtid="{D5CDD505-2E9C-101B-9397-08002B2CF9AE}" pid="6" name="_AuthorEmail">
    <vt:lpwstr>TOBIAS.GRUENEWALD@ALLIANZ.COM</vt:lpwstr>
  </property>
  <property fmtid="{D5CDD505-2E9C-101B-9397-08002B2CF9AE}" pid="7" name="_AuthorEmailDisplayName">
    <vt:lpwstr>Gruenewald, Tobias (Allianz SE)</vt:lpwstr>
  </property>
  <property fmtid="{D5CDD505-2E9C-101B-9397-08002B2CF9AE}" pid="8" name="MSIP_Label_ce5f591a-3248-43e9-9b70-1ad50135772d_Enabled">
    <vt:lpwstr>true</vt:lpwstr>
  </property>
  <property fmtid="{D5CDD505-2E9C-101B-9397-08002B2CF9AE}" pid="9" name="MSIP_Label_ce5f591a-3248-43e9-9b70-1ad50135772d_SetDate">
    <vt:lpwstr>2021-07-29T09:20:11Z</vt:lpwstr>
  </property>
  <property fmtid="{D5CDD505-2E9C-101B-9397-08002B2CF9AE}" pid="10" name="MSIP_Label_ce5f591a-3248-43e9-9b70-1ad50135772d_Method">
    <vt:lpwstr>Privileged</vt:lpwstr>
  </property>
  <property fmtid="{D5CDD505-2E9C-101B-9397-08002B2CF9AE}" pid="11" name="MSIP_Label_ce5f591a-3248-43e9-9b70-1ad50135772d_Name">
    <vt:lpwstr>ce5f591a-3248-43e9-9b70-1ad50135772d</vt:lpwstr>
  </property>
  <property fmtid="{D5CDD505-2E9C-101B-9397-08002B2CF9AE}" pid="12" name="MSIP_Label_ce5f591a-3248-43e9-9b70-1ad50135772d_SiteId">
    <vt:lpwstr>6e06e42d-6925-47c6-b9e7-9581c7ca302a</vt:lpwstr>
  </property>
  <property fmtid="{D5CDD505-2E9C-101B-9397-08002B2CF9AE}" pid="13" name="MSIP_Label_ce5f591a-3248-43e9-9b70-1ad50135772d_ActionId">
    <vt:lpwstr>cae8452c-7462-4e0b-86f6-dfc751feef05</vt:lpwstr>
  </property>
  <property fmtid="{D5CDD505-2E9C-101B-9397-08002B2CF9AE}" pid="14" name="MSIP_Label_ce5f591a-3248-43e9-9b70-1ad50135772d_ContentBits">
    <vt:lpwstr>0</vt:lpwstr>
  </property>
  <property fmtid="{D5CDD505-2E9C-101B-9397-08002B2CF9AE}" pid="15" name="_PreviousAdHocReviewCycleID">
    <vt:i4>187749390</vt:i4>
  </property>
</Properties>
</file>